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ink/ink1.xml" ContentType="application/inkml+xml"/>
  <Override PartName="/ppt/ink/ink2.xml" ContentType="application/inkml+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23"/>
  </p:notesMasterIdLst>
  <p:handoutMasterIdLst>
    <p:handoutMasterId r:id="rId24"/>
  </p:handoutMasterIdLst>
  <p:sldIdLst>
    <p:sldId id="291" r:id="rId5"/>
    <p:sldId id="260" r:id="rId6"/>
    <p:sldId id="296" r:id="rId7"/>
    <p:sldId id="297" r:id="rId8"/>
    <p:sldId id="264" r:id="rId9"/>
    <p:sldId id="265" r:id="rId10"/>
    <p:sldId id="266" r:id="rId11"/>
    <p:sldId id="267" r:id="rId12"/>
    <p:sldId id="268" r:id="rId13"/>
    <p:sldId id="270" r:id="rId14"/>
    <p:sldId id="299" r:id="rId15"/>
    <p:sldId id="271" r:id="rId16"/>
    <p:sldId id="306" r:id="rId17"/>
    <p:sldId id="300" r:id="rId18"/>
    <p:sldId id="302" r:id="rId19"/>
    <p:sldId id="303" r:id="rId20"/>
    <p:sldId id="304" r:id="rId21"/>
    <p:sldId id="305" r:id="rId22"/>
  </p:sldIdLst>
  <p:sldSz cx="9144000" cy="6858000" type="screen4x3"/>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1" orient="horz" pos="2160">
          <p15:clr>
            <a:srgbClr val="A4A3A4"/>
          </p15:clr>
        </p15:guide>
        <p15:guide id="1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202" autoAdjust="0"/>
    <p:restoredTop sz="71073" autoAdjust="0"/>
  </p:normalViewPr>
  <p:slideViewPr>
    <p:cSldViewPr snapToGrid="0" showGuides="1">
      <p:cViewPr varScale="1">
        <p:scale>
          <a:sx n="124" d="100"/>
          <a:sy n="124" d="100"/>
        </p:scale>
        <p:origin x="920" y="176"/>
      </p:cViewPr>
      <p:guideLst>
        <p:guide orient="horz" pos="2160"/>
        <p:guide pos="2880"/>
      </p:guideLst>
    </p:cSldViewPr>
  </p:slid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85" d="100"/>
          <a:sy n="85" d="100"/>
        </p:scale>
        <p:origin x="2340" y="102"/>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12/10/19</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12-10T23:53:25.003"/>
    </inkml:context>
    <inkml:brush xml:id="br0">
      <inkml:brushProperty name="width" value="0.1" units="cm"/>
      <inkml:brushProperty name="height" value="0.1" units="cm"/>
      <inkml:brushProperty name="color" value="#33CCFF"/>
    </inkml:brush>
  </inkml:definitions>
  <inkml:trace contextRef="#ctx0" brushRef="#br0">178 365 24575,'0'51'0,"-15"30"0,8-47 0,-12 31 0,11-47 0,3 2 0,-5-1 0,5-11 0,-3 11 0,1-11 0,3 6 0,-7-3 0,6 1 0,-2-2 0,4-3 0,3 4 0,-7-3 0,3-16 0,-1 0 0,-7-36 0,10 20 0,-7-12 0,9 8 0,-4 1 0,3 1 0,-7-2 0,7 12 0,-2-8 0,3 11 0,0-2 0,0 1 0,-3 5 0,2-6 0,-2 4 0,3-1 0,0 1 0,0-4 0,0 8 0,0-8 0,0 4 0,0-1 0,0-2 0,0 2 0,0 0 0,0 2 0,0 3 0,0-4 0,0 3 0,0-3 0,0 4 0,0-3 0,0 2 0,0-3 0,0 4 0,0-8 0,3 6 0,-3-6 0,4 5 0,-4 2 0,3-3 0,0 4 0,4 0 0,-3 0 0,2 0 0,-5 0 0,5 0 0,-2 0 0,3 0 0,0 0 0,0 0 0,-3 0 0,2 0 0,-5 0 0,5 0 0,-2 0 0,3 0 0,-4-4 0,0 3 0,0 4 0,-2 4 0,6 11 0,-6-3 0,9 6 0,-6-6 0,4 2 0,-2 1 0,-1 0 0,-1 1 0,2-2 0,-2-3 0,3 0 0,0 0 0,-3 0 0,-1 0 0,0 0 0,1 0 0,3 0 0,0 0 0,-4 0 0,4-1 0,-4 1 0,8 4 0,-6-3 0,4 2 0,-5-3 0,4 4 0,-5-3 0,8 6 0,-7-6 0,7 2 0,-4-3 0,-3 0 0,2 4 0,-2-3 0,3 2 0,0-3 0,-3 0 0,2 0 0,-5 0 0,2 0 0,4 3 0,-6 2 0,9-1 0,-9 0 0,2-4 0,0 0 0,-2 0 0,2-1 0,0 1 0,-2 0 0,2 4 0,4 0 0,-6 1 0,10 6 0,-10-9 0,2 6 0,1 0 0,-3-3 0,6 12 0,-6-8 0,9 3 0,-8-4 0,8 1 0,-9-5 0,2 0 0,-3-5 0,3 1 0,-2 4 0,2-3 0,0 6 0,-2-2 0,9 3 0,-8-4 0,5 3 0,-4-2 0,2 7 0,2-3 0,-2 0 0,2 7 0,-3-13 0,1 17 0,1-14 0,-5 6 0,6-4 0,-3 9 0,1-6 0,-1 15 0,-4-12 0,7 8 0,-5 1 0,8-5 0,-9 4 0,3-4 0,0 9 0,-3-11 0,3 10 0,0-16 0,-4 11 0,4-7 0,-4 4 0,0 3 0,0-10 0,0 10 0,0-3 0,0 1 0,0 3 0,0 0 0,0-7 0,0 10 0,0-14 0,0 14 0,0 1 0,0 4 0,0 5 0,0-16 0,0 2 0,0-3 0,0-3 0,0 6 0,0-12 0,0 8 0,0-8 0,0 7 0,0-7 0,0 8 0,0-4 0,-4 5 0,3-5 0,-6 4 0,3-12 0,-4 3 0,4-14 0,1-6 0,3-15 0,0 2 0,0 1 0,0 1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12-10T23:54:37.902"/>
    </inkml:context>
    <inkml:brush xml:id="br0">
      <inkml:brushProperty name="width" value="0.1" units="cm"/>
      <inkml:brushProperty name="height" value="0.1" units="cm"/>
      <inkml:brushProperty name="color" value="#33CCFF"/>
    </inkml:brush>
  </inkml:definitions>
  <inkml:trace contextRef="#ctx0" brushRef="#br0">915 2674 24575,'-26'28'0,"4"-10"0,-12 2 0,7-9 0,-14 3 0,10 5 0,2-12 0,11 2 0,14-21 0,8-28 0,14-17 0,4-23 0,-5 11 0,12-3 0,-21 23 0,8 8 0,-15 19 0,-1 21 0,-27 42 0,5 1 0,-32 40 0,16-14 0,-5 3 0,7-8 0,8-21 0,10-20 0,5-12 0,10-35 0,3-39 0,0 12 0,0-7-1197,-1-31 1,2-5 1196,10 6 0,3-3-896,-5 19 0,1-3 0,3 2 896,6 7 0,4 2 0,-1 2 0,6-23 0,0 4-414,0 10 0,1 5 414,-5 16 0,-2 4 0,15-16 0,-6 12 1928,-6 20-1928,-9 22 2879,5 18-2879,-13 24 1102,0 16-1102,-8 23 0,-10 4 0,-17 8 0,-12-13 0,-8-18 0,-2-14 0,12-20 0,5-5 0,4-11 0,12-9 0,-5-17 0,4-4 0,2-25 0,2-2 0,7-21 0,2 0 0,4-5 0,0 6 0,0 13 0,0-4 0,0 17 0,0-4 0,4 5 0,-3 0 0,11 1 0,-6 4 0,7 2 0,-8 5 0,2 4 0,-6 2 0,3 12 0,-4-6 0,0 14 0,0-5 0,0 7 0,0-4 0,0 3 0,0-6 0,0 2 0,0-3 0,0 3 0,0-2 0,0 2 0,3 1 0,1-4 0,0 7 0,2-2 0,-1-1 0,2-5 0,1 0 0,-1 0 0,1 2 0,-1 6 0,1-11 0,-1 7 0,0-1 0,1-1 0,-1 10 0,0-7 0,-3 4 0,2 0 0,2-1 0,-1 1 0,4 0 0,0-4 0,0 0 0,1-1 0,-2 1 0,-3 4 0,4-3 0,-3 2 0,2-3 0,-3 4 0,0 0 0,0 0 0,0 0 0,0-4 0,0 3 0,0-2 0,-3 3 0,2 0 0,-2-4 0,4-1 0,-1 1 0,0 0 0,-3 4 0,2-4 0,-2 3 0,3-2 0,0 3 0,-3 0 0,2 0 0,-2 0 0,-3 3 0,-2 1 0,-10 9 0,3-1 0,-2 3 0,3-2 0,0-5 0,0 2 0,0 0 0,-4 1 0,3 6 0,-3-1 0,3 9 0,4-9 0,-3 6 0,3-8 0,0 7 0,-2-5 0,5 10 0,-5-12 0,2 4 0,-3-4 0,0 0 0,0 0 0,0 0 0,3 0 0,-2-1 0,5 5 0,-9 0 0,6 1 0,-4 2 0,2-6 0,2 3 0,-3-1 0,-1-2 0,1 3 0,0-4 0,3-1 0,-2 5 0,5-3 0,-9 6 0,5-6 0,-3 6 0,2-6 0,2 3 0,-4 3 0,1-5 0,0 6 0,3-4 0,-2-4 0,2 4 0,0-4 0,-6 3 0,5 2 0,-6 3 0,3 0 0,0 0 0,1-3 0,0-2 0,-1 5 0,1-2 0,-1 2 0,-3 0 0,3-8 0,-3 12 0,0-7 0,2 8 0,2-9 0,-1 8 0,4-10 0,-7 9 0,3-7 0,-3 5 0,3-1 0,4 0 0,-6 0 0,4 4 0,-1-6 0,0 2 0,2-1 0,1-5 0,-2 6 0,2-8 0,-4 3 0,4-2 0,-2 3 0,5-1 0,-5-2 0,2 7 0,-4-4 0,1 1 0,3-2 0,-3-3 0,3 8 0,0-3 0,-7 8 0,10-5 0,-9-4 0,6 0 0,0-1 0,-2 2 0,-2 3 0,3-3 0,-5 2 0,9 1 0,-6-2 0,3 10 0,0-15 0,-7 11 0,10-11 0,-10 6 0,10-6 0,-5 6 0,5-6 0,-3 6 0,4-6 0,-3 6 0,-1-2 0,-4-1 0,4 3 0,1-6 0,3 3 0,-3-4 0,2 3 0,-5-2 0,5 3 0,-5-4 0,5 3 0,-2-2 0,0 3 0,-1-4 0,0 3 0,-2-2 0,5 3 0,-2 3 0,3-5 0,-3 6 0,2-8 0,-6 8 0,6-7 0,-6 11 0,3-8 0,-4 1 0,4-2 0,1 5 0,0-2 0,-2 10 0,1-10 0,0 9 0,4-13 0,-7 9 0,6-6 0,-10 3 0,11-3 0,-7 6 0,6-9 0,-3 13 0,4-9 0,0 3 0,-4 2 0,3-9 0,-2 6 0,3-1 0,0-5 0,0 6 0,-7-4 0,5 0 0,-5 1 0,7 6 0,0-9 0,0 6 0,-3-1 0,2-1 0,-3 6 0,4-4 0,0-3 0,-3 2 0,2-2 0,-3-1 0,4 8 0,0-11 0,-3 15 0,2-10 0,-3 10 0,4-10 0,0 1 0,0 1 0,0-6 0,0 9 0,0-6 0,0-1 0,0 4 0,0-4 0,0 1 0,0-2 0,0 5 0,0-6 0,0 9 0,0-2 0,0-4 0,0 16 0,0-6 0,0 4 0,0-5 0,0-7 0,0-6 0,0 2 0,0-3 0,0 4 0,0-3 0,0 2 0,0-3 0,0 4 0,0-4 0,0 4 0,0-4 0,0 3 0,0-2 0,0 7 0,0-4 0,0 1 0,0 2 0,0-3 0,0 1 0,0-2 0,0-3 0,0 4 0,0-3 0,0 2 0,0-3 0,0 8 0,0-6 0,0 6 0,0-1 0,0-5 0,0 6 0,0 0 0,3-7 0,-2 7 0,2-4 0,-3-3 0,4 6 0,0-3 0,0 1 0,3 2 0,-6-2 0,5 3 0,-5-4 0,6 3 0,-6-6 0,2 3 0,-3-1 0,7 6 0,-1 4 0,2-3 0,-5-2 0,-3-8 0,4 3 0,-3-2 0,5 6 0,-5-2 0,3 3 0,2 0 0,-4 0 0,8 1 0,-5 3 0,-1-7 0,0 11 0,-1-14 0,-3 6 0,10-5 0,-8-2 0,5 3 0,-7-4 0,3 3 0,-2-2 0,2 3 0,-3-5 0,4 5 0,-4 1 0,4-1 0,-1 0 0,-2 3 0,5-1 0,-2 6 0,4-4 0,-4-3 0,3 6 0,-6-9 0,6 14 0,-6-14 0,3 5 0,2-3 0,-4-3 0,8 2 0,-6 1 0,0 0 0,2 1 0,-5-2 0,9 1 0,-8-3 0,8 6 0,-9-6 0,5 6 0,-5-6 0,6 3 0,-3 8 0,3-9 0,1 9 0,0-4 0,-1-6 0,4 14 0,-3-15 0,0 7 0,-1-4 0,-7-3 0,7 2 0,-6-3 0,5 4 0,2 0 0,0 4 0,3 1 0,-7-5 0,6 3 0,-5-6 0,3 3 0,-5-4 0,0-1 0,-2 1 0,2 4 0,0 0 0,5 5 0,-3-5 0,4 0 0,-8-4 0,2 0 0,1 3 0,-4-2 0,7 3 0,-6-5 0,8 5 0,-7-3 0,5 2 0,-7-3 0,3 0 0,1 4 0,0-3 0,2 2 0,-5-3 0,2 0 0,1 4 0,0-4 0,3 4 0,-3-4 0,2 4 0,-2-4 0,4 12 0,-1-10 0,0 5 0,0-7 0,-3 0 0,-1 0 0,0 0 0,1-3 0,3 2 0,0-2 0,0 3 0,0 3 0,0-2 0,0 3 0,4-1 0,-3-2 0,6 3 0,-6-4 0,2 0 0,-3 0 0,0 0 0,0 0 0,0 0 0,3 3 0,2 2 0,-1-4 0,0-1 0,-4-4 0,3 5 0,-2-1 0,3 4 0,-4-4 0,3 4 0,-2-4 0,3 4 0,-4-4 0,-3 0 0,5 3 0,-4-2 0,6 3 0,-7-4 0,2 0 0,1 3 0,1 2 0,3-1 0,-4 0 0,0-7 0,0-4 0,0-4 0,0-3 0,3 3 0,-2-3 0,6 0 0,-2-5 0,3 0 0,0-2 0,0 5 0,5-6 0,0 3 0,0-4 0,4 3 0,-8-1 0,4 2 0,-9 0 0,0 1 0,-1 1 0,-2 2 0,3-3 0,-5 4 0,1 0 0,0 0 0,0 0 0,0 3 0,4-2 0,-7 2 0,6-4 0,-6 1 0,3 0 0,0 0 0,0 0 0,3-3 0,-2 2 0,3-3 0,-7 4 0,2 0 0,1-4 0,1 3 0,3-6 0,-4 6 0,4-6 0,-3 6 0,3-7 0,-4 7 0,3-6 0,-1 2 0,1 1 0,-3 0 0,1 0 0,-1 3 0,0-2 0,-3-1 0,5-1 0,-4 1 0,6 0 0,-4 4 0,0 0 0,-4 0 0,4-4 0,-3 0 0,3-1 0,1 2 0,-1 3 0,0-4 0,0-1 0,0 1 0,1 0 0,-1 0 0,1-9 0,3 2 0,-2-6 0,1 13 0,-6-4 0,-1 4 0,4-5 0,-2 5 0,6-4 0,-4 4 0,1-4 0,-1-5 0,1 7 0,0-5 0,-5 6 0,4-7 0,-2 3 0,3-4 0,-1 1 0,1 6 0,0-10 0,-4 14 0,3-18 0,-6 17 0,10-17 0,-9 18 0,9-10 0,-7 3 0,4 0 0,-4-8 0,7 4 0,-9 3 0,8-1 0,-9 2 0,6 0 0,-6 0 0,6-3 0,-6 10 0,2-13 0,1 9 0,-1-3 0,5 2 0,-4 6 0,-1-6 0,-3-2 0,3 3 0,-2-10 0,2 7 0,1-9 0,-3 8 0,2 2 0,1-9 0,1 12 0,-1-16 0,-1 7 0,-3 4 0,4-14 0,0 5 0,3 5 0,-2-3 0,-2 4 0,-3-2 0,7-3 0,-6 2 0,6 2 0,-3 1 0,-4 0 0,4-4 0,-4 7 0,3-7 0,-2 4 0,6-5 0,-6 7 0,3-14 0,-4 14 0,0-3 0,7-2 0,-5 10 0,5-3 0,-7 6 0,0-1 0,0 3 0,0-3 0,0-3 0,0-2 0,0-9 0,0 6 0,0 0 0,0 3 0,0-3 0,0 3 0,0 0 0,0-3 0,0 7 0,0-12 0,0 11 0,0-14 0,0 13 0,0-14 0,0 12 0,0-8 0,0 8 0,0-4 0,0 1 0,0 3 0,0-4 0,0 1 0,0 6 0,-3-5 0,-2-3 0,1 7 0,-4-13 0,7 14 0,-9-6 0,8 4 0,-8-5 0,9 8 0,-6-7 0,6 3 0,-6 4 0,6-11 0,-9 6 0,8-3 0,-9 0 0,11 9 0,-4-8 0,-3-4 0,5 0 0,-12-3 0,9 7 0,-3 2 0,5 2 0,-1 0 0,0 4 0,-7-5 0,3 5 0,-3-4 0,3 4 0,4-9 0,-6 4 0,5-3 0,-6 3 0,3 1 0,-4-9 0,3 2 0,0-3 0,2 6 0,3 3 0,-1 5 0,-5-3 0,5-2 0,-6-5 0,6 4 0,-2-1 0,-2-2 0,1 6 0,-5-14 0,9 19 0,-3-13 0,-1 9 0,0-3 0,0 2 0,2 6 0,2-3 0,-3 7 0,-4-5 0,3 0 0,-3-3 0,4-2 0,-1 2 0,1 1 0,0 0 0,-1-4 0,1 3 0,-5-12 0,3 8 0,-2 0 0,3-3 0,1 10 0,-1-9 0,1 10 0,-1-6 0,4 6 0,-6-11 0,5 10 0,-7-13 0,5 9 0,2-7 0,-6 1 0,6 6 0,-3-1 0,2 3 0,2 3 0,-4-11 0,1 10 0,-1-5 0,1-1 0,3 2 0,-3-3 0,-1-2 0,-1 5 0,1-6 0,2 7 0,2 1 0,0 1 0,-6-2 0,5 0 0,-6-2 0,7 6 0,-2-3 0,1 1 0,-6-6 0,3 3 0,-4-9 0,5 9 0,-1-3 0,1 6 0,-1-1 0,1-1 0,3 1 0,-6-4 0,5 7 0,-6-2 0,4-1 0,0 3 0,-1-3 0,1 4 0,0 0 0,3 0 0,-2-3 0,2 2 0,-4-3 0,1 4 0,0 0 0,4 0 0,-4 0 0,3-4 0,-3 3 0,0-2 0,0 3 0,-5-8 0,1 5 0,-1-4 0,1 6 0,0-2 0,3 5 0,-6-9 0,6 12 0,-6-11 0,6 8 0,-3 1 0,7 4 0,-2 7 0,2 0 0,-3 0 0,0 4 0,3-4 0,-3 4 0,0-4 0,2 0 0,-2 0 0,4 0 0,-1 0 0,0 0 0,-2 0 0,2 4 0,-4-4 0,1 4 0,0-4 0,0 0 0,0 0 0,0 0 0,-4 3 0,7-2 0,-6 3 0,6-4 0,-3-1 0,0 1 0,0 0 0,0 0 0,3 4 0,-2-3 0,2 2 0,-3-3 0,0 0 0,0 0 0,-4 3 0,-1 2 0,4-1 0,-2 0 0,6-4 0,-3 0 0,0 0 0,0 0 0,0 0 0,3 0 0,-2-1 0,2 1 0,-3 0 0,0 0 0,0 0 0,0 0 0,0 0 0,0 0 0,3 0 0,-2 0 0,2 0 0,-4 7 0,1-5 0,-1 6 0,1-5 0,0-2 0,-4 7 0,3-4 0,0 1 0,1-2 0,3 1 0,0-3 0,-3 6 0,3-6 0,-3 2 0,3-3 0,-2 0 0,2 4 0,0 0 0,-3 1 0,3-2 0,-3-3 0,0 0 0,0 8 0,-4-3 0,2 8 0,-2-9 0,4 0 0,0 3 0,-1-5 0,1 6 0,0-8 0,-1 3 0,1 2 0,0-1 0,-1 0 0,1-4 0,0 4 0,0-4 0,-1 8 0,1-8 0,0 4 0,-1 4 0,1-6 0,0 5 0,-1 1 0,1-6 0,2 6 0,-1-1 0,5-1 0,-6 3 0,3-2 0,-3-6 0,-1 6 0,4-6 0,1 10 0,-1-5 0,0 6 0,-3-7 0,2 6 0,-1-9 0,5 6 0,-5-5 0,1 2 0,1-1 0,-7 12 0,6-13 0,-4 13 0,3-15 0,5 6 0,-5-2 0,5 3 0,-9 0 0,5 0 0,-7 1 0,8-1 0,-3 0 0,7-4 0,-11 4 0,10-8 0,-9 4 0,9-4 0,-6 8 0,6-3 0,-6 12 0,-1-4 0,2 0 0,-1 0 0,7-5 0,-3-4 0,2 4 0,-6 0 0,6-2 0,-2 2 0,-1-5 0,3-2 0,-2 3 0,3-5 0,0 9 0,0-2 0,0 10 0,0-10 0,0 9 0,0-13 0,0 6 0,0-8 0,0 3 0,0-2 0,0 3 0,0-4 0,0 7 0,0-5 0,0 6 0,0-4 0,0-4 0,0 4 0,0-4 0,0 4 0,0-4 0,0 8 0,0-4 0,0 4 0,0 5 0,0-8 0,0 7 0,0-8 0,0 4 0,0 5 0,3-4 0,-2-1 0,3 4 0,-4 2 0,6 1 0,-4 6 0,12-8 0,-12 5 0,8-5 0,-9-1 0,6-3 0,-3-5 0,7-7 0,5-13 0,11-20 0,13-16 0,16-28-480,-1 6 480,2-11 0,-13 26 0,-8-1 0,-4 10 0,-4 1 0,0-4 0,-5 9 0,-1 1 480,-5 2-480,0 4 0,0-5 0,-3-1 0,-2 6 0,-3-4 0,-1 12 0,1-21 0,-1 22 0,-3-22 0,-2 16 0,-3-3 0,0-4 0,4 12 0,-3 2 0,2 9 0,-3 4 0,0 10 0,0 11 0,-4 23 0,-10 6 0,-7 15 0,-3-10 0,0 10 0,-4-9 0,6 4 0,-10-9 0,3 3 0,8-14 0,-4-2 0,12-7 0,2-12 0,-4 7 0,7-8 0,-3 1 0,7-2 0,-3 1 0,-1 0 0,0 1 0,-3 2 0,4-6 0,-9 11 0,7-6 0,-7 7 0,-1 5 0,7-3 0,-7 4 0,0 3 0,7-12 0,-7 8 0,10-9 0,-1-5 0,4-14 0,1-23 0,3-25 0,9-16 0,8-13 0,6 4 0,13-11 0,-12 12 0,10 11 0,-13 6 0,7 10 0,-9 9 0,-1-1 0,-3 20 0,-3 0 0,3 9 0,5-9 0,-3 10 0,-1-5 0,-5 7 0,-1 5 0,2-1 0,3 8 0,1 12 0,-7 7 0,-1 12 0,-8 5 0,0 2 0,0 4 0,-13 1 0,-3-5 0,-12 0 0,0-5 0,1-4 0,8-11 0,4-6 0,8-16 0,3-24 0,1-18 0,3-40 0,0-9-396,1 39 1,3-1 395,12-45 0,2 9 0,18 13 0,-6 20 0,10 7 0,-13 21 0,3 3 0,-18 16 0,7 13 791,-5 25-791,-1 9 0,-3 26 0,-6-19 0,-16 12 0,0-15 0,-19 0 0,12-14 0,-11 1 0,13-22 0,1 7 0,1-24 0,10-5 0,-2-21 0,7-5 0,0-6 0,0-5 0,0-2 0,13-6 0,2 6 0,19 1 0,0 10 0,4 4 0,4 7 0,-13 5 0,4 8 0,-16 1 0,2 6 0,-8 3 0,0-1 0,0 6 0,-4 0 0,4 1 0,-4 9 0,-3 7 0,0 7 0,-4 1 0,0-2 0,-7-4 0,5-13 0,-5-24 0,7-12 0,0-24 0,10-2 0,0 10 0,8 2 0,0 9 0,4 6 0,-8 5 0,7 0 0,-10 15 0,1 1 0,-1 2 0,-7 6 0,-1-3 0,-3 0 0,0-8 0,0 6 0,0-6 0,0 8 0,0 6 0,-13 15 0,6 9 0,-10 13 0,0 0 0,-10 19 0,-3-14 0,-18 32 0,-1-11 0,-7 5 0,-2-13 0,13-11 0,9-22 0,13-1 0,12-19 0,7-9 0,13-19 0,1-10 0,4 5 0,7-8 0,-6 14 0,6-6 0,-8 3 0,-1 4 0,-4 5 0,3 1 0,-2-1 0,2 7 0,-4-5 0,-3 10 0,7-10 0,-6 5 0,6-3 0,-7 5 0,3-3 0,1 1 0,0-3 0,0 5 0,-2 1 0,-5-6 0,2 3 0,0-2 0,1 8 0,3 0 0,0 0 0,0 0 0,0-7 0,-3 5 0,3-6 0,-3 8 0,3 0 0,0 0 0,-4 0 0,4 0 0,-3-4 0,3 3 0,0-3 0,0 4 0,0 0 0,-3 0 0,-1-3 0,0 2 0,1-3 0,3 4 0,-1 0 0,1 0 0,0 0 0,0 0 0,0 0 0,-3-4 0,-1 3 0,-3-3 0,0 4 0,0-7 0,0 5 0,3-6 0,-2 4 0,2 3 0,-3-3 0,0 4 0,0-3 0,3 2 0,-2 3 0,2 14 0,-3 7 0,0 19 0,0 2 0,0 4 0,0 4 0,0-8 0,0-6 0,0-3 0,0-15 0,0 9 0,0-13 0,0 6 0,0-8 0,0 3 0,0-2 0,0 3 0,0-4 0,0 3 0,7 2 0,-6 7 0,9-3 0,-5 12 0,3-6 0,-3 7 0,6-4 0,-10-1 0,11 5 0,-11 2 0,6 9 0,-5 7 0,6 7 0,1-1 0,2 0 0,2-16 0,-5-7 0,-3-7 0,5-2 0,-8-5 0,5-1 0,-7-4 0,0 4 0,0-2 0,0 9 0,0-9 0,0 15 0,0-11 0,0 12 0,0 1 0,-17 8 0,-11 11 0,-30 4 0,15-24 0,-3 0-345,1 0 0,-1-1 345,-6-2 0,-2-2 0,1 2 0,0 0 0,-8-1 0,1-1 0,-32 13 0,8-2 0,58-23 0,37-31 0,20-7 0,41-29 0,-32 24 0,2-1-369,5-1 1,2-1 368,-4 1 0,-1 1 0,24-20 664,-17 8-664,-24 24 0,-6-9 0,-9 16 0,0-6 0,-8 7 763,-1 2-763,-3 9 0,-8 14 0,-6 11 0,-18-1 0,8 2 0,1-23 0,16-16 0,15-10 0,2-22 0,13 5 0,-4-6 0,-1 14 0,-9 0 0,-12 20 0,-10 8 0,-7 7 0,-10 19 0,3-11 0,1 4 0,11-11 0,14-6 0,16-11 0,7 1 0,9-13 0,-14 9 0,2-4 0,-11 10 0,0 10 0,-5 6 0,-3 15 0,0-4 0,3-1 0,1 0 0,3-4 0,1-2 0,2-3 0,6-6 0,9 0 0,1 0 0,3-7 0,-12 2 0,-2-10 0,-11 7 0,-1-2 0,-3 3 0,0-4 0,0 9 0,0 23 0,0-1 0,0 30 0,0-23 0,0 12 0,0-17 0,3-2 0,5-6 0,-4-6 0,6 3 0,-14-34 0,-3-20 0,-5-33 0,-9-12 0,13 17 0,-5 16 0,9 28 0,-4 26 0,-9 22 0,3 10 0,-18 11 0,13-12 0,-6-4 0,13-13 0,-3-10 0,7-15 0,-8-15 0,10-4 0,-2 3 0,8 1 0,0 18 0,-3-6 0,2 14 0,-2 19 0,3 11 0,0 18 0,0-15 0,3 2 0,-2-22 0,10-11 0,-2-7 0,7-18 0,5-2 0,-4 7 0,8-6 0,-5 13 0,-3 0 0,6 0 0,-14 5 0,5-1 0,-7 4 0,8 1 0,6 3 0,6 12 0,3 2 0,-3 18 0,-6-10 0,-4-1 0,-6-10 0,-4-4 0,0 0 0,0 0 0,-3-7 0,-1 0 0,-3-7 0,0 0 0,0-4 0,0-1 0,0-3 0,0-4 0,0-2 0,0 1 0,0-4 0,0 4 0,0-5 0,0 4 0,0-2 0,0 7 0,0-8 0,0 11 0,0-9 0,0 9 0,0-3 0,0-2 0,0 9 0,3-6 0,-2 4 0,2 3 0,-3-2 0,3 3 0,-3-4 0,4 3 0,-4-3 0,0 4 0,3 0 0,-3 0 0,3 0 0,-3 0 0,0 0 0,0-4 0,7 0 0,-2-1 0,6 5 0,-1 3 0,2 4 0,-1 0 0,3 7 0,-6-2 0,3 6 0,4 4 0,-6-6 0,10 10 0,-7-7 0,-1-1 0,0 0 0,-4-4 0,0 0 0,-3 0 0,5 3 0,-3 2 0,1-1 0,-4 0 0,-3 3 0,4-5 0,-1 6 0,1-8 0,-1 4 0,4 0 0,-2 1 0,2 2 0,-4-6 0,-3 2 0,4 1 0,-3-3 0,2 2 0,0 1 0,-2 0 0,6 1 0,-4-2 0,1-3 0,-1 4 0,1 0 0,0 1 0,0 2 0,2-2 0,-5-1 0,5 0 0,-2-5 0,0 1 0,3 8 0,-3-6 0,0 6 0,3-5 0,-6 2 0,9 3 0,-9 4 0,6-6 0,-7 2 0,0-8 0,0 7 0,0-1 0,0 10 0,0-7 0,0 13 0,0-8 0,0 4 0,0 3 0,0-10 0,0 10 0,0-3 0,0-4 0,0 0 0,0-3 0,0-9 0,-3 9 0,2-6 0,-6 3 0,6 0 0,-2-3 0,0-2 0,-1-6 0,-7-1 0,-5-3 0,-4-7 0,-10-3 0,9-6 0,-8-5 0,12 4 0,-4-17 0,4 7 0,3-9 0,-3 2 0,8 4 0,-3 3 0,3 3 0,-2 5 0,2 3 0,1 0 0,1 1 0,3 8 0,0-4 0,-6 0 0,5 3 0,-5-2 0,6 12 0,1 12 0,3 8 0,0 12 0,0-16 0,0 1 0,0-22 0,0-22 0,0-15 0,0-19 0,0-1 0,0 6 0,0 12 0,0 3 0,0 13 0,0 4 0,3 7 0,9 23 0,12 14 0,-1 11 0,9 9 0,-13-7 0,3-3 0,-10-11 0,0 2 0,-5-14 0,0 5 0,5 1 0,-4 6 0,1-3 0,-2 5 0,-6-11 0,2 3 0,5 9 0,-3-2 0,4 3 0,-2-2 0,-6-10 0,3 1 0,-4-7 0,0-29 0,-9-8 0,-1-19 0,-13-2 0,8 14 0,-2 6 0,8 3 0,-2 7 0,2 1 0,-3-9 0,4 8 0,-5-13 0,0 3 0,3 1 0,-2-4 0,-1-2 0,2 0 0,-6 4 0,12 4 0,2 12 0,-5-12 0,6 14 0,-9-9 0,10 11 0,-6-7 0,6 2 0,-3 1 0,4-2 0,0 5 0,-3-6 0,2 7 0,-3-2 0,-3-7 0,5 4 0,-6-11 0,8 15 0,-4-5 0,4 10 0,-4-3 0,1 0 0,2 3 0,-3-2 0,1 3 0,-1 0 0,-3 6 0,0 1 0,0 7 0,3 18 0,-11 4 0,3 23 0,-17 8 0,3 7 0,-12 21-809,-8-2 809,23-40 0,-1-1 0,-20 32 0,9-20 0,10-5 0,4-24 0,7 5 0,3-16 0,0 2 809,2-4-809,-2-3 0,4-2 0,0 1 0,0-3 0,-1 2 0,4 1 0,-2-3 0,-1 2 0,-1-3 0,-3 1 0,0-1 0,0 4 0,5-6 0,22-10 0,19-11 0,9-6 0,19-7 0,-13 13 0,16-8 0,-7 13 0,-5-3 0,-7 9 0,-7 1 0,-14 4 0,2 0 0,-15 0 0,2 0 0,4 4 0,-9-3 0,13 2 0,-15-3 0,3 0 0,-5 3 0,1 1 0,4 4 0,-3 2 0,7 6 0,2 5 0,-4-4 0,3 2 0,-12-7 0,6 7 0,-5-3 0,12 18 0,-12-12 0,11 17 0,-10-13 0,2 3 0,5 11 0,-11-11 0,14 11 0,-10-16 0,5-3 0,-7 2 0,0-7 0,-4 4 0,3-9 0,-2 0 0,2 3 0,-3-1 0,0 3 0,0 7 0,7-5 0,-2 11 0,4 0 0,-6 1 0,-3 5 0,4-4 0,-3 2 0,2-2 0,-3 9 0,0 1 0,0 12 0,0-10 0,0-6 0,-7-9 0,5-16 0,-12 7 0,6-8 0,-8-2 0,-19-3 0,-11-6 0,-21 5 0,0 1 0,-12-1 0,16 4 0,1-8 0,10 3 0,20-4 0,3 0 0,11-3 0,10-1 0,-7-7 0,8 3 0,-1-10 0,5-4 0,3-13 0,0-2 0,0-14 0,0 2 0,8-4 0,7-6 0,9 15 0,9-3 0,-9 20 0,1 5 0,-14 14 0,0 5 0,-1 3 0,-2 0 0,6 6 0,-1 17 0,5 15 0,-8 29 0,-1 9 0,-9 19-754,-21 3 754,-3-5 0,3-47 0,-4-2 0,-23 22 0,0-8 0,3-14 0,8-15 0,6 1 0,10-13 0,8 0 754,3-7-754,6-3 0,0 4 0,1-3 0,3 2 0,0-3 0,7 8 0,-2-6 0,6 9 0,-3-2 0,0 4 0,0 1 0,-4 2 0,3-7 0,-6 8 0,9-8 0,-9 0 0,6 2 0,-4-9 0,-2 18 0,2-13 0,1 24 0,1-11 0,8 13 0,-4-13 0,0 1 0,-3-12 0,-5 0 0,3-6 0,-1 1 0,-2 9 0,9 2 0,-8 3 0,9-6 0,-7-4 0,0-3 0,0-2 0,-1 1 0,-2-3 0,2 9 0,-3-1 0,7 4 0,-5 3 0,4-7 0,-2 8 0,-3 1 0,3 0 0,-1 9 0,-2-3 0,7-1 0,-7-1 0,2 0 0,-3-3 0,0 8 0,0-4 0,0 5 0,0 0 0,0 5 0,0-8 0,0 7 0,0-13 0,0-5 0,0-6 0,0-2 0,0-4 0,0 5 0,0-7 0,0 7 0,0-1 0,0 6 0,0-4 0,0-3 0,0 6 0,0-9 0,0 6 0,0-5 0,0-2 0,0 3 0,0-4 0,0 3 0,0 2 0,0-1 0,0 4 0,0-8 0,0 4 0,0-4 0,0 3 0,0-2 0,-3 7 0,2-4 0,-2 4 0,3-3 0,0 2 0,0-6 0,-7 6 0,5 2 0,-5-4 0,4 3 0,3-4 0,-4-4 0,4 4 0,0-4 0,0 3 0,0-2 0,0 3 0,0-4 0,-3 3 0,2-2 0,-2 3 0,3 3 0,-3-5 0,2 6 0,-2-8 0,-4 4 0,5 0 0,-5 1 0,7 2 0,0-6 0,0 2 0,0-3 0,0 4 0,0-3 0,0 2 0,0-3 0,0 4 0,4 0 0,0 1 0,3-2 0,-3-3 0,2 4 0,-2-7 0,7 10 0,-6-9 0,5 5 0,-10-3 0,3 0 0,0 0 0,1 0 0,4 3 0,-1-2 0,0 11 0,-3-17 0,-11-13 0,1-5 0,-10-18 0,8 13 0,-3 1 0,2-9 0,-2 16 0,2-19 0,5 22 0,-7-14 0,7 16 0,-4-2 0,2 3 0,1-4 0,2 3 0,-8-6 0,6 2 0,-2 0 0,0 2 0,3-1 0,0 3 0,-6-6 0,5 6 0,-3-6 0,2 6 0,5-3 0,-5 4 0,-3-13 0,4 2 0,-6-3 0,7 2 0,0 8 0,1-1 0,0 1 0,-2 1 0,-2 2 0,0-7 0,3 8 0,-4-17 0,4 14 0,-9-27 0,8 18 0,-6-8 0,10 5 0,-15-11 0,9 13 0,-7-11 0,7 12 0,3 5 0,-1-14 0,-2 2 0,-2-4 0,3 4 0,-6-7 0,8 15 0,-5-10 0,5 8 0,-7-5 0,6 0 0,-4 5 0,2 0 0,6 5 0,-2 0 0,0 3 0,2 2 0,-2-1 0,0-1 0,-2-3 0,-2 3 0,3 2 0,1-5 0,3 6 0,-4-6 0,4 0 0,-7 6 0,-2-29 0,3 21 0,-6-17 0,7 9 0,-3 4 0,-5-18 0,4 7 0,-5-13 0,5 3 0,-5-10 0,4 9 0,-4-3 0,9 10 0,-3 1 0,7 5 0,-3-9 0,-4 2 0,2-16 0,-4 10 0,2-8 0,6 15 0,-6-4 0,7 13 0,-2-6 0,-6 2 0,7-1 0,-10 2 0,12 6 0,-4 12 0,4-3 0,0 8 0,0-4 0,-3 3 0,2-2 0,-5-1 0,5 3 0,-3-3 0,4 4 0,-3 0 0,-1 0 0,0 0 0,-2 0 0,2 19 0,-1-5 0,2 26 0,-1-16 0,3 12 0,-2-13 0,-1 7 0,0-10 0,-3 2 0,3-5 0,1 2 0,3-1 0,0 3 0,0-6 0,0 3 0,0-4 0,0 7 0,0-5 0,0 6 0,0-4 0,0 0 0,0 8 0,0-6 0,0 5 0,0-6 0,0-1 0,0 0 0,0-4 0,0 8 0,0-7 0,0 15 0,0-10 0,0 10 0,3-10 0,-3 1 0,3-7 0,-3 4 0,0-3 0,4 2 0,-4-3 0,3 4 0,-3-3 0,0 2 0,0-3 0,0 4 0,4 0 0,0 1 0,0 2 0,-1-6 0,-3 2 0,7 5 0,-5-2 0,8 2 0,-9 4 0,5-11 0,-5 15 0,5-14 0,2 13 0,1-5 0,2 8 0,-3-5 0,3-1 0,-6-3 0,6-1 0,-7 4 0,0-6 0,3 9 0,1-9 0,1 15 0,7-2 0,-10 0 0,10 12 0,-11-15 0,4 11 0,-1-5 0,-3-3 0,11 4 0,-10-5 0,10-4 0,-12 2 0,7-6 0,-6 2 0,5-8 0,-9 4 0,6 5 0,-3-6 0,0 9 0,7-8 0,-6 6 0,7-1 0,-8-1 0,7 1 0,-6-4 0,6 3 0,-6 1 0,1-4 0,-5-1 0,3 4 0,-1-7 0,6 17 0,-1-16 0,0 15 0,2-16 0,-8 7 0,12 1 0,-9 0 0,7-3 0,-8-3 0,3 1 0,-3-2 0,7 6 0,-2-4 0,-2-3 0,0 2 0,-6-6 0,5 6 0,3 2 0,-4-4 0,6 11 0,-7-11 0,8 12 0,-7-12 0,5 7 0,-9-8 0,3-5 0,-4-14 0,-4-9 0,0-7 0,-1 9 0,-2-9 0,3 14 0,-5-17 0,2 18 0,-1-6 0,5 4 0,-4 0 0,6-1 0,-6-2 0,6 6 0,-9-6 0,5 2 0,-2 0 0,0-2 0,2-2 0,-3-4 0,-4-5 0,3 0 0,1 5 0,0-8 0,1 10 0,1-10 0,-4 12 0,5-13 0,1 8 0,-4-4 0,7 9 0,-9-3 0,5 10 0,-7-13 0,8 13 0,-3-6 0,6 8 0,-2-4 0,-3 0 0,1-1 0,-6-2 0,7 6 0,-6-7 0,4 4 0,-9-9 0,7 0 0,-8-5 0,7 8 0,-2-1 0,4 6 0,2-3 0,-5 0 0,5 3 0,-6-2 0,3-7 0,-8-1 0,6-8 0,-15-1 0,15 9 0,-12-17 0,4 11 0,3-13 0,-3 10 0,6 1 0,3 1 0,-3 7 0,-5-16 0,10 20 0,-9-16 0,11 9 0,-3-5 0,-1-5 0,-4-1 0,7 6 0,-5-4 0,6 12 0,1-6 0,-7 8 0,5-5 0,-6-4 0,8 7 0,-4-6 0,7 11 0,-10-6 0,6 2 0,-4 1 0,2-4 0,3 4 0,-1-1 0,1-2 0,4 6 0,0-2 0,-7 0 0,5 2 0,-5 2 0,7 4 0,0 4 0,0-4 0,0 3 0,0-2 0,0-5 0,0 2 0,0-11 0,0 12 0,0-3 0,0 8 0,4-8 0,0 6 0,0-6 0,-1 5 0,0 2 0,-2-3 0,2 4 0,0 0 0,1 0 0,3 0 0,0 3 0,3-3 0,2 6 0,7-2 0,-6 3 0,5 0 0,-2 0 0,4 7 0,0-2 0,10 16 0,-13-11 0,5 6 0,-12-5 0,-6-3 0,0 6 0,-4-2 0,0 3 0,0 4 0,0 1 0,0 5 0,0-5 0,0 4 0,0-12 0,0 3 0,0-4 0,0-3 0,0 2 0,0-3 0,0 4 0,0-4 0,0 4 0,0-4 0,0 4 0,0-33 0,0-5 0,0-39 0,0-8 0,0-1 0,14-12 0,0 5 0,3 12 0,1 10 0,-16 32 0,5 18 0,-7 24 0,0 8 0,-4 23 0,-1-7 0,-11 33 0,2-20 0,-3 20 0,-5-17 0,6-6 0,-3-2 0,3-15 0,7-6 0,0-10 0,3 0 0,5-8 0,-3 4 0,4-4 0,0 3 0,0-2 0,-3 3 0,2-4 0,-8 3 0,3 2 0,-5 3 0,7-4 0,-2 0 0,2-7 0,-3-1 0,-4-10 0,2-10 0,1-5 0,-3-7 0,6 4 0,-3 5 0,4-4 0,4 12 0,0-11 0,0 10 0,0-10 0,0 2 0,0-3 0,7 3 0,1 2 0,4 7 0,-2 1 0,-3 7 0,0 1 0,4 3 0,-4 0 0,4 7 0,-3 6 0,-4 7 0,0 5 0,-4-5 0,0 3 0,0-6 0,0 2 0,0-43 0,0-25 0,12 2 0,4-7-847,1-8 1,3-3 846,11-9 0,5 0 0,-2 13 0,1 1 0,-3-5 0,1 5 0,22-9 0,-18 11 0,-10 30 0,-15 13 0,-2 14 0,2 19 1693,-7 17-1693,4 25 0,-9 14 0,0 8 0,0 7 0,-10-8 0,-6 0 0,-5-20 0,-8-2 0,14-27 0,2-20 0,10-29 0,3-20 0,0-22 0,0-9 0,0-7 0,0-12 0,0 23 0,0 9 0,-4 28 0,-3 16 0,-5 14 0,-4 10 0,-4 8 0,-2 4 0,-4 2 0,0-9 0,5-2 0,2-5 0,7-9 0,5 1 0,3-18 0,4-7 0,-3 1 0,2-8 0,-6 13 0,3 0 0,-3 9 0,0 7 0,0 7 0,-1 13 0,0-2 0,-5 15 0,8-20 0,-3 10 0,8-15 0,3 3 0,1-10 0,11-3 0,17-11 0,12-6 0,23-13 0,-5 5 0,12-9 0,-24 16 0,14-14 0,-34 14 0,6-3 0,-21 8 0,-3 10 0,-2-5 0,-3 9 0,0 1 0,-3 8 0,-1 7 0,-3 6 0,0 8 0,0-3 0,0-1 0,0-10 0,3-14 0,11-20 0,5-20 0,10-15 0,0 1 0,-4 0 0,2 1 0,-7 9 0,-1-3 0,-11 23 0,-1 4 0,-3 12 0,0 0 0,-8-4 0,-1-5 0,-10 0 0,2-12 0,-8-4 0,-2-5 0,0 1 0,1 5 0,13 7 0,-2-1 0,10-4 0,-11-7 0,10 0 0,-10-4 0,11 9 0,-3-3 0,4 16 0,-3-1 0,2 12 0,-5 3 0,5 4 0,-9 11 0,4 2 0,-6 15 0,4-2 0,-5 9 0,3 5 0,-3-3 0,5-2 0,3-1 0,-6-8 0,9-1 0,-8-10 0,5 9 0,1-14 0,-4 17 0,7-18 0,-9 9 0,8-20 0,-5 0 0,15-22 0,11-3 0,9-10 0,10 0 0,10-3 0,-7 7 0,2 4 0,-3 6 0,-13 6 0,-1 7 0,-7-1 0,-8 11 0,4-4 0,5 4 0,-8 0 0,11 0 0,-11 0 0,7 0 0,1 0 0,-4 0 0,8 0 0,-12 0 0,6 0 0,-10 0 0,7 4 0,-8-1 0,8 8 0,-4 1 0,4 3 0,-3-4 0,7 9 0,-6-11 0,3 7 0,-5-9 0,-1 3 0,2 2 0,-1-1 0,-3 4 0,-2-8 0,-5 4 0,8 0 0,-7-4 0,8 4 0,-9-4 0,5 8 0,-2-7 0,7 11 0,-2-8 0,5 9 0,-5 0 0,2-3 0,-3 5 0,0 0 0,-3-1 0,3 17 0,0-15 0,-2 11 0,1 1 0,-7-4 0,-3 5 0,-5-11 0,-9-1 0,-5-3 0,-3-6 0,-22-3 0,1-12 0,-20 0 0,7 0 0,-7 0 0,5-9 0,-11-3 0,-2-4 0,-1-4 0,6 13 0,13-3 0,19 14 0,16 0 0,10 7 0,11 1 0,15 4 0,22-7 0,26 8 0,6-14 0,-2 6 0,-15-9 0,-23 0 0,-5-3 0,-17-1 0,-3-11 0,-1 3 0,-3-16 0,0 1 0,0-13 0,0 4 0,13-6 0,-3 12 0,11 3 0,-9 15 0,2 8 0,-1 21 0,-5 6 0,4 12 0,-11 5 0,3-13 0,-4 11 0,-3-24 0,-1 5 0,-3-8 0,-4-6 0,3-2 0,-4-19 0,8 2 0,0-14 0,4 15 0,0 4 0,0 10 0,0 14 0,0 2 0,0 7 0,-4 10 0,-1-11 0,-3 15 0,0-24 0,3 9 0,2-21 0,3-14 0,4-11 0,1-15 0,13-8 0,-7 9 0,7-9 0,-10 23 0,-4 4 0,0 18 0,3 9 0,-5 1 0,5 14 0,-7-7 0,0 5 0,0 2 0,0-7 0,0 4 0,0-9 0,0-10 0,0-15 0,0-13 0,4-8 0,1-5 0,4 4 0,-4 0 0,6 2 0,-9 16 0,9 5 0,-10 14 0,2 5 0,-3 14 0,4 2 0,-3 5 0,3 5 0,-4-14 0,0 2 0,0-9 0,3-1 0,6 10 0,3-2 0,-3 6 0,1-9 0,-1 14 0,-3-6 0,6 16 0,-11-13 0,3 3 0,-1-12 0,-2-9 0,2-32 0,-11-1 0,2-21 0,-7 15 0,9 2 0,-3 12 0,6 2 0,-2 14 0,7 10 0,-4 3 0,11 12 0,-9-8 0,5 0 0,-4-6 0,-2-13 0,2-6 0,-3-16 0,0-6 0,0-9 0,0-2 0,0 1 0,0 5 0,0 15 0,0 6 0,-3 0 0,2 6 0,-3-6 0,1 8 0,-1 3 0,-7 1 0,3 3 0,-2 0 0,3 0 0,-4 0 0,-1 0 0,-7 0 0,-2 0 0,-8-4 0,-8-14 0,1 5 0,-12-23 0,20 24 0,-3-6 0,16 8 0,6 15 0,10 1 0,5 24 0,15 12 0,-5 6 0,3-1 0,3-1 0,-12-10 0,12 4 0,-9-5 0,5 5 0,0-3 0,-4 3 0,-2-14 0,-7 7 0,-2-12 0,-3 4 0,0-1 0,0-8 0,0 0 0,0-2 0,0-6 0,-4 10 0,0-9 0,-3 6 0,-1-5 0,1 2 0,-4 3 0,-1-3 0,-7-5 0,2 0 0,-6-6 0,10 2 0,-10 5 0,14-7 0,-5 10 0,7-11 0,9 3 0,18-3 0,18-4 0,10-5 0,4-10 0,-19 0 0,0 2 0,-20 6 0,2 0 0,-8 9 0,4-1 0,-3 7 0,2 2 0,1-1 0,-3 2 0,6 3 0,-3 2 0,5 7 0,-3 11 0,3 2 0,-2 13 0,0-8 0,-5-2 0,-5-6 0,-4-12 0,0-2 0,0-5 0,0-2 0,-7 6 0,-6-9 0,-17 2 0,-2-7 0,-19 0 0,3 0 0,-20-20 0,6 2 0,0-13 0,3-3 0,20 17 0,1-6 0,9 6 0,15 7 0,-3-10 0,14 9 0,10-9 0,11-2 0,33-7 0,8 9 0,21 4 0,0 11 0,-16 5 0,1 8 0,-28 1 0,3 18 0,-8 6 0,2 10 0,-6 0 0,-9 2 0,-6 2 0,-8 1 0,0 17 0,-5-16 0,-10 22 0,4-27 0,-13 13 0,-4-14 0,-3 0 0,-2-6 0,2 3 0,12-21 0,-3 14 0,1-16 0,6 4 0,-5-5 0,7 2 0,4-9 0,-7 14 0,6-8 0,-7 10 0,7-10 0,-1 0 0,5 4 0,-6-5 0,-1 19 0,2-19 0,-2 13 0,5-10 0,2 3 0,-3 8 0,4-14 0,-3 13 0,2-10 0,-3 7 0,-3 1 0,5 4 0,-9 1 0,10 10 0,-7 2 0,7 10 0,-4 8 0,1-5 0,3 10 0,-12-12 0,7 17 0,-7-24 0,8 4 0,-3-26 0,8-3 0,-4-5 0,7-16 0,15-11 0,13-27 0,10-9 0,10-16 0,-1-14 0,-1 10 0,-5-7 0,-10 22 0,-9-5 0,1 22 0,-11-1 0,2 7 0,-1 7 0,-6-13 0,7-1 0,0-1 0,-5-9 0,14 3 0,-16 6 0,4 3 0,-7 9 0,-2-9 0,7 2 0,-6-13 0,6 3 0,-11-4 0,7 9 0,-7-8 0,3 8 0,-4-4 0,0 1 0,0-1 0,0 10 0,0-4 0,0 6 0,0 7 0,0-22 0,0 15 0,0-17 0,0 6 0,0 8 0,0-2 0,0 9 0,0-4 0,0 3 0,0-3 0,0 4 0,0 0 0,0-4 0,0 3 0,0-3 0,0 0 0,0-2 0,0 5 0,0-2 0,0 11 0,0-2 0,0 7 0,0-9 0,0 11 0,0-12 0,0 11 0,0-1 0,0 2 0,0 2 0,0-2 0,0 2 0,0-3 0,0 4 0,0-8 0,-7 3 0,5-12 0,-5 11 0,7-1 0,0 3 0,-3-1 0,2 1 0,-2-4 0,3 7 0,-3-2 0,2 3 0,-6-4 0,-5-6 0,2 5 0,-5-4 0,3 1 0,4 3 0,-4-12 0,8 8 0,-3 0 0,3 1 0,-3 8 0,3-4 0,1 4 0,-1 0 0,7 0 0,-3 3 0,11 7 0,6 20 0,-3 10 0,8 13 0,-9-13 0,1 10 0,-3-16 0,2 9 0,-8-7 0,6-4 0,-6 4 0,0-8 0,-1 0 0,-1-7 0,-2-6 0,2 2 0,-3-3 0,0 4 0,0-3 0,0 2 0,7 1 0,-5-3 0,4 2 0,-6-3 0,0 0 0,0 3 0,0-2 0,0 3 0,0 4 0,3-7 0,-2 7 0,6-4 0,-7-3 0,4 2 0,-4-3 0,0 0 0,0 4 0,0-4 0,0 4 0,0-4 0,0 4 0,3-4 0,-2 4 0,2-4 0,3 3 0,-4-2 0,5 3 0,-4-1 0,-2-2 0,2 3 0,-3-1 0,0 6 0,4 0 0,-3 8 0,2-8 0,1 7 0,-3 2 0,9-3 0,-8 6 0,7-15 0,-8 5 0,2-2 0,1 4 0,-3 0 0,6 0 0,-6-1 0,5-3 0,-1 4 0,-1-9 0,-1 12 0,0-9 0,-2 6 0,3 3 0,-4-5 0,0 7 0,3-1 0,-2-4 0,3 9 0,-4 2 0,0-5 0,0 7 0,0-7 0,0 0 0,0 7 0,0-9 0,0 1 0,0-3 0,0-6 0,0 3 0,0-7 0,0 7 0,0-8 0,0 1 0,0-2 0,0-3 0,0 4 0,0-3 0,0 2 0,0 5 0,0-6 0,0 6 0,0-9 0,0 5 0,0-3 0,0 6 0,0-2 0,0 3 0,0-4 0,0 0 0,0 4 0,0 1 0,0 1 0,0 1 0,0-2 0,0-3 0,0 1 0,0 1 0,-7-2 0,5 6 0,-8-4 0,6 4 0,-1-6 0,-2 10 0,6-11 0,-6 7 0,3-3 0,-4-1 0,0 4 0,0-3 0,-4 12 0,3-14 0,-3 13 0,8-18 0,-3 10 0,6-12 0,-10 12 0,10-10 0,-7 9 0,5-2 0,-2 4 0,-3 0 0,4 4 0,-7-4 0,5 5 0,-2-8 0,5 10 0,-1-14 0,0 16 0,-1-13 0,-6 7 0,6-10 0,-3 5 0,5-3 0,0 5 0,-2-1 0,-3 5 0,-3-8 0,6 3 0,-5-7 0,9-2 0,-5-3 0,5 4 0,-6 0 0,3 1 0,-3-2 0,0 1 0,-1 0 0,4 5 0,-3-5 0,0 3 0,-1-6 0,0 3 0,2-4 0,-1 3 0,-1-2 0,-3 3 0,4-1 0,0-2 0,-1 3 0,1-8 0,-4 7 0,4-5 0,-4 3 0,4-2 0,0-6 0,-4 7 0,3-6 0,-3 2 0,1 4 0,2-5 0,-3 7 0,4-8 0,0 5 0,-4-2 0,0 4 0,-1-1 0,-2 0 0,6-3 0,-6 3 0,2-6 0,0 5 0,-2-1 0,6 1 0,-3 2 0,4-1 0,0-4 0,0 4 0,-3 0 0,2 1 0,-3 3 0,4-1 0,0-2 0,-4 6 0,2 2 0,-2-4 0,4 3 0,-5 5 0,4-10 0,-1 13 0,3-12 0,2 1 0,-1 2 0,-4-3 0,7-9 0,-5-13 0,7-20 0,0-11 0,0-16 0,0-4 0,0-11 0,0 11 0,0 3 0,4 13 0,-3 4 0,7 2 0,-7-1 0,7 10 0,-8-8 0,12 3 0,-10 12 0,7-8 0,-9 19 0,3-7 0,-2 9 0,2 0 0,-3 4 0,0-8 0,0 6 0,0-18 0,0 13 0,0-14 0,0 15 0,0-2 0,0 5 0,0 36 0,0-4 0,0 35 0,0-20 0,0 7 0,0-8 0,0 6 0,-4 3 0,3-3 0,-3-1 0,0-1 0,3-9 0,-3-2 0,4-13 0,0 7 0,0-14 0,-3 6 0,2-8 0,-2 3 0,3-2 0,0 3 0,0-5 0,0 5 0,0-3 0,0 2 0,0-3 0,0 4 0,0-3 0,0 2 0,0-3 0,0 4 0,0-3 0,0 2 0,0-3 0,0 4 0,0-3 0,0 2 0,0-3 0,0 4 0,0 0 0,0 1 0,0 2 0,0-6 0,0 6 0,0-3 0,0 5 0,0-5 0,0 3 0,3-6 0,5-4 0,0-5 0,6-6 0,-6 3 0,6-3 0,-3-1 0,1 0 0,-1-10 0,-4 9 0,0-6 0,0 8 0,1-4 0,-1 3 0,0-3 0,0 4 0,-3 0 0,2 0 0,-2 0 0,2 0 0,2-3 0,2-2 0,-2 0 0,7-2 0,-7 2 0,6-3 0,-6 3 0,3 2 0,-4 3 0,0 0 0,0 0 0,7-1 0,-5-3 0,6 3 0,1-11 0,-7 9 0,10-9 0,-7 8 0,8-10 0,-7 1 0,3 2 0,-9 3 0,0 8 0,0-3 0,1-2 0,-1-7 0,4 2 0,-2-2 0,2 4 0,-3-10 0,0-1 0,0 0 0,-3-2 0,2 11 0,-6-11 0,2 6 0,-3-7 0,4 9 0,-4 0 0,4 9 0,-4-4 0,0 7 0,0-2 0,0 3 0,0-4 0,0 3 0,0-3 0,-3 4 0,-5 3 0,-9 22 0,-6 4 0,-5 19 0,-1 6 0,1-3 0,-7 16 0,10-17 0,-8 6 0,15-23 0,-14 14 0,18-21 0,-16 12 0,21-19 0,-6 7 0,7-3 0,-3 5 0,2 2 0,-2-10 0,3 5 0,0-2 0,1-4 0,2 3 0,2-4 0,0-3 0,2 6 0,-5-3 0,18-56 0,3-8 0,-2 0 0,1-6-268,1 2 1,-1 1 267,13-31 0,-11 38 0,1 3 0,10-10 0,-1-5 0,-5 24 0,-14-8 0,8 17 0,-11-6 0,1 13 535,-1 2-535,-4 14 0,-5 35 0,-3-2 0,-2 27 0,-3-15 0,4-3 0,-9 4 0,4-10 0,-4-1 0,6-14 0,5 3 0,-1-8 0,1 1 0,-1-2 0,1 1 0,0-3 0,-1 6 0,4-2 0,1-1 0,3 0 0,-3-4 0,2 3 0,-5-2 0,-2 6 0,0 2 0,0-4 0,1 11 0,6-10 0,-7 15 0,4-15 0,-4 7 0,4-6 0,1-5 0,3 6 0,4 0 0,0-6 0,3 5 0,13-10 0,2-1 0,18-3 0,3-17 0,18-7 0,-7-22 0,3 3 0,-21-5 0,-11 19 0,-12 4 0,-2 11 0,-4 2 0,4-3 0,-3 3 0,0 1 0,-5 4 0,-3-3 0,0 2 0,-3-3 0,-5 14 0,0 2 0,-3 14 0,-1 2 0,3-1 0,-3 4 0,-4-3 0,6-1 0,-14 5 0,15-18 0,-4-12 0,10-23 0,3-19 0,9-7 0,2-5 0,13-1 0,-4 6 0,9-4 0,-14 15 0,3 2 0,-6 12 0,-3 8 0,-1 5 0,-2 6 0,-5-1 0,5 3 0,-2-6 0,3 6 0,4-7 0,-6 7 0,5-2 0,-10-1 0,7 0 0,-3-1 0,3-7 0,0 10 0,-2-5 0,1 7 0,-5 0 0,2 18 0,-3 11 0,-4 19 0,-6 6 0,-5 11 0,0-13 0,-8 12 0,8-21 0,-11 10 0,7-15 0,5-4 0,4-13 0,12-13 0,9-25 0,10-25 0,9-14 0,-2-22 0,7 14 0,-16 2 0,10 8 0,-15 15 0,0 9 0,3-2 0,-7 8 0,-2 1 0,0-9 0,-3 7 0,0-4 0,-1 7 0,3 8 0,-5 2 0,4 7 0,-6-2 0,0 2 0,0 1 0,0 0 0,4-4 0,-3 3 0,2-4 0,-3-3 0,4 7 0,-3-12 0,2 8 0,1-8 0,-3 12 0,2-11 0,-3 14 0,7-10 0,-5 8 0,4-1 0,-6 1 0,0 4 0,0-3 0,0 2 0,0-3 0,0 4 0,0-8 0,-3 3 0,2-8 0,-6 5 0,6 3 0,-2-2 0,0 2 0,2 1 0,-6 0 0,3 4 0,0 0 0,-2 0 0,2 6 0,0 14 0,-3 21 0,6 3 0,-4 20 0,-4-8 0,3 4 0,-8 5 0,9 9 0,-4-4 0,-1 9 0,-1-6 0,1-5 0,1-1 0,8-13 0,-7-19 0,8-9 0,-4-12 0,1 0 0,-1 0 0,0 3 0,-2-2 0,5 6 0,-5-2 0,5-1 0,-6 8 0,-1-7 0,0 4 0,0 2 0,2-9 0,2 14 0,-7-11 0,2 4 0,-2-2 0,7-6 0,-7 15 0,2-9 0,-3 6 0,-3-6 0,4-2 0,-5 3 0,1 0 0,0 0 0,-10 6 0,-4 3 0,1 3 0,1 1 0,11-8 0,-9 0 0,12-8 0,-15 4 0,19-11 0,-9 9 0,10-10 0,-3 1 0,7-10 0,5-20 0,8-8 0,5-9 0,3 11 0,-3-2 0,5 11 0,-4-12 0,15 1 0,-11-2 0,12-2 0,-12 1 0,2 9 0,-4-1 0,-5 15 0,2-5 0,-6 10 0,3-3 0,-1 4 0,-2 0 0,3-1 0,-1-2 0,-2 2 0,3-3 0,-4 0 0,0-5 0,1 4 0,3-7 0,-3 14 0,6-8 0,-6 8 0,2-6 0,-3 4 0,4 0 0,-3 0 0,2 3 0,-3 1 0,4 3 0,-3-4 0,2 1 0,-3-4 0,0 0 0,4-8 0,-3 2 0,4-15 0,-4 14 0,3-6 0,-6 19 0,-3 25 0,-7 6 0,-14 28 0,-2 2 0,-9 1 0,-2 11 0,-3-9 0,-3 11 0,-9-9 0,3-2 0,5-18 0,10-4 0,12-19 0,6-2 0,3-6 0,1-6 0,-4 3 0,3 0 0,-3-3 0,4 3 0,0-5 0,0 1 0,-1 0 0,5-10 0,-1-11 0,18-23 0,-3-1 0,8-13 0,2 9 0,-5-4 0,11-1 0,-7-12 0,3 15 0,-4-8 0,-9 21 0,1-3 0,-10 8 0,10 1 0,-9 6 0,8 4 0,-10 3 0,7 1 0,-6 1 0,2 2 0,-3-11 0,0 6 0,0-20 0,13-5 0,-5-16 0,15-12 0,-2-1 0,1-7 0,7 7 0,-12 1 0,2 12 0,-6 2 0,-2 5 0,2 5 0,-4-3 0,3 13 0,-2-2 0,-2 9 0,-1 5 0,-6-4 0,2 4 0,-3-5 0,4 5 0,-4-4 0,4 8 0,-4-8 0,6 8 0,-4-4 0,5 5 0,-7 3 0,0-2 0,0 2 0,0 1 0,-4-3 0,4 2 0,-8-12 0,7 6 0,-7-15 0,7 12 0,-10-9 0,9 10 0,-5 4 0,7 6 0,0 3 0,-3-8 0,2 6 0,-3-6 0,1 8 0,2 0 0,-2 0 0,3 0 0,-3 0 0,2-4 0,-9-1 0,5 1 0,-5 0 0,3 10 0,3 10 0,1 8 0,6 7 0,6 5 0,-4-11 0,7 14 0,-7-9 0,4 17 0,3-4 0,-1 9 0,2-3 0,-4-1 0,3-1 0,3 6 0,-5-8 0,-1 13 0,-9-10 0,0 6 0,0-10 0,0 2 0,0-18 0,0 7 0,0-11 0,0-2 0,0 4 0,0-10 0,0 13 0,0-13 0,0 6 0,0-8 0,0 3 0,0-2 0,0 3 0,0 3 0,0-5 0,0 6 0,0-8 0,0 3 0,0-2 0,0 3 0,0-34 0,0 4 0,0-32 0,0 4 0,0 4 0,-9-9 0,3 11 0,-3 8 0,1-5 0,3 16 0,-11-8 0,9 10 0,-8 0 0,2-6 0,-1 4 0,-13-14 0,4 1 0,-9-4 0,3-7 0,2 14 0,9 1 0,2 3 0,7 14 0,-3-18 0,4 10 0,-10-15 0,8 2 0,-12-22 0,12 22 0,-2-11 0,7 22 0,-1 8 0,5 0 0,-3 2 0,4 45 0,10 4 0,-8 30 0,11-6 0,-12-1 0,4-2 0,-5 9 0,0 1 0,0 1 0,0 0 0,0-1 0,-5-12 0,0-2 0,0-15 0,-2-11 0,6-3 0,-5-14 0,2 5 0,-3-7 0,0 0 0,-4-10 0,-7-22 0,-12-28 0,-15-32-702,24 37 1,0-2 701,-10-13 0,1-1 0,8 13 0,1 0-335,-6-8 0,-1 3 335,-21-28-250,6 19 250,-9 3 0,23 33 0,-12 0 1335,10 17-1335,-11 7 710,-10 1-710,-15 4 0,-9 0 0,-12 0-178,-1 19 178,7-4 0,12 24 0,11-13 0,29-2 0,8-17 0,19-22 0,16-16 0,9-24 456,9-1-456,4-6 0,-9-9 0,2 19 0,-7-19 0,8 11 0,-13 5 0,3 1 0,-14 9 0,-1 8 0,4-3 0,-6 18 0,6-6 0,-5 19 0,1-6 0,3 5 0,3-2 0,-1 4 0,9-7 0,-9 14 0,6-13 0,-8 9 0,0-6 0,4 0 0,-4 3 0,4-6 0,0 6 0,1-7 0,-1 7 0,0-2 0,-4 6 0,0 0 0,0 1 0,7-5 0,-1 0 0,3 0 0,12 13 0,-17 0 0,21 11 0,-19-4 0,12 13 0,-12-7 0,4 16 0,-5-13 0,-3 8 0,3 6 0,-7-4 0,-1 5 0,-4-7 0,0-9 0,0 0 0,0-1 0,0-6 0,0 5 0,0-7 0,0 9 0,0 0 0,0 5 0,0-1 0,4 1 0,-3-5 0,9-1 0,-5-7 0,6 2 0,-1-6 0,-1 0 0,14-1 0,-10-6 0,20 11 0,-7-10 0,0 9 0,7-6 0,-15 2 0,2 1 0,-9-1 0,-5 0 0,-9 0 0,-28-3 0,-5 0 0,-28-4 0,10 0 0,0 0 0,2-9 0,23 4 0,4-7 0,10-4 0,6 7 0,-8-14 0,6 6 0,2-8 0,-3-4 0,7 3 0,1-8 0,4 4 0,0 3 0,0-5 0,0 10 0,0-3 0,7 5 0,-2 9 0,2-4 0,-1 7 0,-5-10 0,2 5 0,-3-10 0,0 10 0,3-2 0,-2 4 0,5 0 0,-2-1 0,4 2 0,-1 3 0,-1 0 0,5 3 0,5 12 0,14 30 0,12 23 0,-18-13 0,0 4-677,4 5 1,-2 3 676,-3 7 0,-1-1 0,1-7 0,1 0 0,-2 5 0,-1-1-280,14 29 280,-2-7 0,-17-19 0,-3-25 0,-8-9 0,2-8 0,-6-13 1332,2 0-1332,-3-4 301,0 3-301,0-2 0,0 6 0,0-2 0,0 3 0,0 4 0,0-3 0,0 0 0,0 2 0,0-9 0,0 6 0,0 4 0,0-1 0,0 21 0,0-12 0,0 17 0,0-12 0,0-4 0,0-5 0,0-15 0,0-42 0,0-6 0,0-43 0,0 10 0,0 5 0,0 8 0,0 13 0,0 7 0,0 13 0,0 3 0,-3 13 0,-1 3 0,-11 5 0,-14 26 0,-11 11 0,-19 26 0,21-20 0,0 1-330,2-2 1,0-1 329,-6 2 0,2-2 0,-15 17 0,5-7 0,23-23 0,7-5 0,17-25 0,22-22 0,8-24 659,4-1-659,-1-8 0,-15 13 0,-6 14 0,-5-5 0,-4 24 0,0 9 0,-8 20 0,-11 12 0,-4 4 0,-9 0 0,-1 7 0,13-13 0,-1-5 0,17-29 0,1-12 0,7-20 0,5-2 0,1 0 0,0 4 0,-3 17 0,-7 2 0,4 15 0,-4 30 0,-5 11 0,-8 17 0,1-5 0,-9-3 0,7-14 0,1 0 0,-7-7 0,14-11 0,-9 2 0,14-14 0,2-15 0,4-19 0,4-10 0,1-15 0,-5 15 0,3 2 0,-4 19 0,0 7 0,0 14 0,-4 2 0,0 14 0,0 6 0,0 1 0,4 16 0,-3-15 0,3 3 0,-4-11 0,0-8 0,0 3 0,3-8 0,1-12 0,9-17 0,1-10 0,4-8 0,3 12 0,-2-6 0,-2 20 0,-2-4 0,-3 15 0,-1-3 0,4 7 0,-4-3 0,4 3 0,-3-3 0,2 2 0,-6 2 0,2 3 0,-3 0 0,4 0 0,0-3 0,1 2 0,6 1 0,-9 8 0,7 8 0,-8 9 0,-3-3 0,6 10 0,-5-5 0,3-5 0,-5-2 0,-4-14 0,0 5 0,-7 1 0,-10-4 0,-15-1 0,-9-7 0,-6 0 0,0 0 0,0 0 0,-5-9 0,21 7 0,-11-11 0,28 5 0,-7-1 0,11-1 0,6 3 0,1-8 0,3-2 0,0-8 0,0 1 0,6 3 0,12 1 0,13-1 0,5 6 0,10-3 0,-10 13 0,0-11 0,-6 13 0,-9-8 0,2 11 0,-7 0 0,8 0 0,1 7 0,-4-1 0,13 19 0,-7-10 0,0 11 0,-2-1 0,-9-4 0,-3 13 0,-1-4 0,-7 5 0,-1-4 0,-4-2 0,0-12 0,0-3 0,-4 1 0,0-9 0,-16 5 0,-8-11 0,-34 0 0,10-9 0,-21-6 0,30-4 0,-4-9 0,21 10 0,4 1 0,11 3 0,7 6 0,1-11 0,3 10 0,0-6 0,17-11 0,14 9 0,26-17 0,32 18-581,-40 7 1,3 1 580,8 2 0,2 0 0,-3-3 0,-3 1 0,31 0 0,-29-2 0,-32 13 0,-19 8 0,-4 6 0,-3 12 1161,0 1-1161,0 11 0,0-5 0,0-1 0,-13 10 0,-7-11 0,-14 9 0,-7-15 0,3-9 0,-2-10 0,5-5 0,0-4 0,0 0 0,4 0 0,-3-4 0,3-10 0,8 4 0,2-10 0,17 8 0,0-17 0,4-4 0,0-13 0,0-7 0,9 5 0,9 0 0,11 6 0,9 5 0,-6 4 0,4 1 0,-17 14 0,2 5 0,-11 7 0,-2 5 0,3-3 0,-4 4 0,-1 0 0,5 0 0,0 7 0,1-2 0,-1 5 0,-1 1 0,-2 0 0,0 9 0,-5 0 0,-3 5 0,0 4 0,0-11 0,0 5 0,-11-7 0,-13-2 0,-14 3 0,-9-12 0,1-1 0,-1-4 0,-5 0 0,9 0 0,-3 0 0,5-4 0,10-4 0,-4-6 0,11-2 0,3 0 0,-8-5 0,15 7 0,-4-2 0,15 1 0,3 3 0,0-12 0,0 4 0,0-10 0,0 0 0,0-5 0,0 0 0,7 4 0,-1 6 0,5 1 0,-3 4 0,0-1 0,0 2 0,0 4 0,-4-1 0,-1-8 0,-3 3 0,0-13 0,0 12 0,0-6 0,0 12 0,0 0 0,0-7 0,0 12 0,0-16 0,-3 14 0,-2-15 0,-3 2 0,-1 0 0,5-7 0,-7 11 0,6-3 0,-4 9 0,6-2 0,0 9 0,2-6 0,-2 4 0,3-1 0,-3-3 0,2 0 0,-11-9 0,11 10 0,-7-18 0,8 18 0,-4-10 0,3 5 0,-2-2 0,3 1 0,-3 4 0,2 2 0,-2 6 0,3-3 0,0 4 0,0-8 0,0 2 0,0-6 0,0 7 0,0 2 0,7 17 0,-5 19 0,10 24 0,-7 11 0,1-1 0,3-2 0,1-4 0,-4-11 0,7 7 0,-12-13 0,7 5 0,6 9 0,-3-14 0,11 9 0,-9-16 0,4 0 0,-5-14 0,-1-1 0,-4-8 0,0 4 0,0-4 0,4 8 0,6 1 0,-5-3 0,12 6 0,-15-11 0,5 3 0,-7-4 0,0 0 0,4 4 0,-3-3 0,2 6 0,1-3 0,1 5 0,-1-5 0,0-3 0,-4-5 0,8-3 0,-3 0 0,16 0 0,-10 0 0,14 0 0,0-4 0,9 2 0,2-14 0,2 9 0,-6-19 0,-4 15 0,-4-6 0,-15 9 0,-1 0 0,-8 1 0,0 3 0,0 1 0,0 3 0,8 0 0,1 7 0,9 7 0,1 8 0,1 9 0,-9-9 0,-2 0 0,-7 6 0,1-13 0,-4 23 0,5-12 0,2 10 0,-2-5 0,6-1 0,-13-13 0,0-3 0,-4-3 0,0-3 0,0 2 0,0-3 0,4 8 0,-3-6 0,2 6 0,1 4 0,0-9 0,1 13 0,-2-15 0,-3 3 0,0-5 0,0 9 0,0-2 0,0 10 0,-4-7 0,0 4 0,-4-5 0,1-4 0,0 0 0,0-7 0,-4-1 0,-1-3 0,-3 0 0,0 0 0,3 0 0,-2 0 0,-3-12 0,3-12 0,-2-8 0,7-8 0,4 9 0,-7-3 0,10 4 0,-10-5 0,11 0 0,-3 4 0,4 6 0,0 1 0,0 12 0,0-3 0,0 4 0,0 3 0,-3-6 0,2-2 0,-2 4 0,3-3 0,-4 4 0,4 42 0,-4-13 0,4 49 0,0-19 0,0 6 0,0 17 0,0-14 0,0 15 0,0-12 0,-14 6 0,1 1 0,-3 0 0,-2-1 0,7-7 0,0 1 0,-2-12 0,12 9 0,-7-19 0,3 3 0,-3-7 0,3-13 0,1 3 0,0-5 0,4-6 0,-4 5 0,1-10 0,2 11 0,-6-7 0,3 4 0,0-6 0,-2-3 0,5 0 0,-2 8 0,3-6 0,-3 6 0,2-9 0,-5 5 0,5-3 0,-3 6 0,4-2 0,-6 3 0,1-4 0,-3 3 0,5-2 0,0 3 0,2-3 0,-3-2 0,1 1 0,2-13 0,2-14 0,14-29 0,8-30 0,15-9-241,-19 35 1,2 2 240,16-23 0,-7 14 0,-13 26 0,-1 2 0,-7 14 0,2-6 0,-7 23 481,-1 2-481,-3 25 0,-7-8 0,5 23 0,-9-18 0,6 17 0,-13-2 0,7 1 0,-8 8 0,10-9 0,-4 4 0,2-4 0,-2-2 0,4 0 0,4-16 0,-3 13 0,0-24 0,3 11 0,-5-8 0,5 8 0,-6-7 0,1 11 0,-1-12 0,3 8 0,-8-3 0,6-1 0,-6 5 0,4-5 0,0 0 0,-1 0 0,-6 0 0,6 0 0,-8 1 0,5-1 0,5-5 0,3-10 0,4-20 0,9-19 0,5-20 0,5-6 0,1-6 0,6 11 0,-6-4 0,11 17 0,-12 1 0,2 10 0,-12 9 0,-1 7 0,2 5 0,-4 2 0,8-3 0,-3 0 0,6-9 0,0-11 0,-1-6 0,-7-3 0,8 0 0,-4 3 0,5 2 0,-1 1 0,-1 3 0,-2-4 0,2 9 0,-3-12 0,3 5 0,-2 4 0,-1-8 0,-2 14 0,-6 1 0,6-6 0,1 16 0,0-4 0,3-3 0,-7 7 0,4-12 0,-1 8 0,2-8 0,2 8 0,-3-8 0,-4 12 0,7-7 0,-10 11 0,6-3 0,-7 4 0,-3 7 0,-1 4 0,-19 29 0,6 7 0,-22 22 0,6 6 0,-4-5 0,1-5 0,7-1 0,6-23 0,4 2 0,3-8 0,8-14 0,-8 9 0,5-12 0,-5 9 0,4-8 0,-3 11 0,6-11 0,-2 12 0,3-8 0,-3 0 0,2-5 0,-2-1 0,7-2 0,-2 7 0,2-11 0,-4 6 0,1-2 0,0-1 0,3 8 0,-3-4 0,3 4 0,-4 5 0,0 0 0,0-3 0,0 5 0,4-9 0,0 6 0,4-4 0,-6 1 0,4-5 0,-5 3 0,7-6 0,0 3 0,0-4 0,0 3 0,0-2 0,-3 6 0,2-2 0,-3-1 0,4 0 0,0-4 0,3 0 0,6-19 0,19-17 0,5-22 0,20-25 0,-4 9 0,0-3 0,-14 25 0,-9 14 0,-10 11 0,-4 5 0,-2 3 0,-5 8 0,-2 8 0,-3 22 0,0 1 0,0 18 0,0-8 0,-4 8 0,-6-4 0,0 6 0,-7-10 0,4-3 0,-4-9 0,8-9 0,-1 3 0,6-11 0,-4 2 0,-2-3 0,1 4 0,2-13 0,3-19 0,4-13 0,0-37 0,0-7 0,0-12-499,0-6 499,0 14 0,0 1 0,0 20 0,0 7 0,0 19 0,0 1 0,0 12 0,0-6 499,0 12-499,0-8 0,0 17 0,-19 53 0,9-3 0,-7 3 0,-1 2 0,6 13 0,-13 18 0,10-22 0,-5 8 0,1-18 0,4-1 0,-3 7 0,8-11 0,-7-4 0,8-6 0,-11 0 0,9-1 0,-6 4 0,12-1 0,-6-2 0,6-5 0,-12 5 0,8-9 0,-6 3 0,9 2 0,-4-15 0,9 1 0,-2-3 0,3-38 0,4 6 0,2-49 0,4 2 0,10-7 0,-2-12 0,3 12 0,6-20 0,-14 24 0,8-3 0,-4 22 0,-6 19 0,6 0 0,-13 20 0,7-10 0,-6 14 0,6-13 0,-7 13 0,3-10 0,-6 8 0,6-5 0,-3 5 0,4-8 0,-4 10 0,2-6 0,-5 18 0,2 22 0,-15 9 0,0 24 0,-16-4 0,6 18 0,-13-7 0,-5 22 0,2-27 0,-5 19 0,9-22 0,7-2 0,0-16 0,14-19 0,5-19 0,5-27 0,12-13 0,-2-21 0,7 6 0,-5 2 0,9 5 0,-7 0 0,7-5 0,-5 4 0,2-5 0,-1 7 0,0-1 0,-1 0 0,-3 10 0,-1 3 0,-2 9 0,2-4 0,-3 7 0,5-2 0,-10 9 0,2 3 0,-3-6 0,0 9 0,0-6 0,0 8 0,0 6 0,0 10 0,-4 23 0,-6 6 0,-10 20 0,-5 2 0,-11 3 0,-2 11 0,-4-10 0,-7 12 0,16-23 0,-10 2 0,24-29 0,-7 3 0,15-16 0,-1 1 0,5-7 0,3-10 0,1-2 0,3-24 0,5-10 0,15-23 0,9-7 0,15-2 0,-8 8 0,5 2 0,-7 11 0,1 5 0,-2 3 0,-1 4 0,-8 5 0,8-8 0,-14 15 0,4-9 0,-10 13 0,0 2 0,-4 5 0,-1 7 0,0 8 0,-3 19 0,-10 25 0,-6 18 0,-8 0 0,1-4 0,-11-4 0,5-10 0,-9 5 0,6-17 0,6-5 0,2-7 0,0 0 0,3-7 0,-3 3 0,5-9 0,0 1 0,3-1 0,1-6 0,15-14 0,7-6 0,23-23 0,5 7 0,18-11 0,0 5 0,-1 9 0,5-8 0,-27 24 0,13-16 0,-26 22 0,10-11 0,-14 9 0,-3 0 0,-6 4 0,-1 2 0,-1 2 0,1-3 0,0 0 0,-14 3 0,1 1 0,-23 7 0,-2 1 0,-11 4 0,-10-4 0,4 7 0,-5-10 0,12 7 0,1-9 0,13 0 0,7-3 0,1-5 0,10 3 0,-5-6 0,7 7 0,-1-6 0,-3 1 0,3 2 0,-6-3 0,2 4 0,1-4 0,-4 2 0,4-3 0,-1 3 0,1-3 0,4 7 0,0 1 0,0 3 0,-3-6 0,2 1 0,-11-7 0,2 1 0,-3-1 0,0-1 0,5-1 0,7 6 0,-6-7 0,12 8 0,-11-8 0,8-1 0,-7-4 0,4-1 0,4 2 0,0 7 0,4 2 0,0 3 0,-7-4 0,6 3 0,-9-3 0,6 7 0,-7 1 0,3 3 0,-6 0 0,2 0 0,1 0 0,0 0 0,4 0 0,0 3 0,0 1 0,0 3 0,0 4 0,-1-3 0,-7 11 0,5-7 0,-6 9 0,12-6 0,-7 9 0,6-11 0,-4 10 0,6-15 0,3 11 0,0-10 0,0 5 0,0-3 0,0 0 0,0 9 0,0-8 0,0 7 0,0-4 0,0 1 0,0 4 0,0-9 0,0 4 0,0-4 0,0 1 0,0-2 0,0-3 0,0 4 0,0-4 0,0 4 0,0-4 0,0 3 0,0-2 0,0 3 0,0-4 0,0 3 0,0-2 0,0 3 0,0 4 0,0-7 0,0 11 0,0-4 0,0 2 0,0 6 0,0-7 0,0 4 0,0-5 0,0-4 0,0 4 0,0-8 0,0 4 0,0 4 0,0-6 0,0 13 0,0-9 0,0 6 0,0 0 0,3-6 0,-2 9 0,5-9 0,-1 10 0,-1-10 0,-1 5 0,-3-2 0,0-3 0,8 9 0,-6-37 0,5-12 0,-7-48 0,0-17-325,0 40 0,0-1 325,0-38 0,0 4 0,0 25 0,0 13 0,0 19 0,0 6 0,0 4 0,0-10 650,0 0-650,0-5 0,0 0 0,0 4 0,0 2 0,0 4 0,0 9 0,0 1 0,0 0 0,-3 6 0,2-6 0,-2 4 0,-1 0 0,0-1 0,0-2 0,1 6 0,6-7 0,1 8 0,3-1 0,10 21 0,1 12 0,7 24 0,4 17 0,-2 3 0,0 5 0,-7-19 0,-6 8 0,4-13 0,-10 5 0,14-4 0,-20-27 0,13 8 0,-13-23 0,8 6 0,-9-8 0,6 3 0,-7-2 0,4 2 0,-4-3 0,0 0 0,0 4 0,0-3 0,0 2 0,0-3 0,0 8 0,0-6 0,3 6 0,-2-43 0,2 2 0,-3-37 0,0 15 0,0 0 0,0 8 0,0 14 0,0-7 0,0 11 0,0 1 0,-4 2 0,0 11 0,-7 7 0,3 7 0,-4 23 0,-5 4 0,2 13 0,-8 1 0,-1 5 0,-2 8 0,6-5 0,1-1 0,13-19 0,3-14 0,3-2 0,0-11 0,-4 2 0,1-3 0,-1 4 0,-3-3 0,7 10 0,-4-1 0,1 7 0,2 1 0,-3 9 0,1-11 0,2 10 0,-2-8 0,3 1 0,0 3 0,0 0 0,0 7 0,0 11 0,0 1 0,0 4 0,0-5 0,0 5 0,0-4 0,0-1 0,0-11 0,0-11 0,0-6 0,0-7 0,3-2 0,-3-3 0,7 0 0,-4-3 0,4 2 0,0-2 0,-3 3 0,2 0 0,2 3 0,-1-2 0,4 6 0,-3 2 0,3 0 0,-2 4 0,2-5 0,-4 4 0,1-3 0,3 4 0,-6-9 0,5 0 0,-6-1 0,0 2 0,7 7 0,-9-3 0,8 8 0,-5-4 0,3 0 0,4 9 0,-3-8 0,7 13 0,-3-8 0,0 3 0,-1-12 0,-8-3 0,-4-7 0,-4-3 0,-7-8 0,0-1 0,-1-2 0,-2 0 0,2 6 0,1-6 0,-4 7 0,4-10 0,-1 8 0,1-8 0,1 6 0,-2 0 0,-9-16 0,4 12 0,0-16 0,2 8 0,3 0 0,-1-4 0,2 1 0,3 2 0,4-6 0,-6 6 0,5 2 0,-6-4 0,3 7 0,0-17 0,-4 15 0,0-9 0,-3 11 0,3 0 0,1-2 0,4 6 0,3-3 0,-6 1 0,8 2 0,-4-11 0,2 2 0,-1-12 0,-3 8 0,-9-13 0,10 19 0,-8-5 0,14 9 0,-5 3 0,5-6 0,-5 6 0,2-3 0,0 4 0,-3-3 0,6-2 0,-2-3 0,3 3 0,0-2 0,-4 2 0,4 1 0,-4-4 0,4 7 0,0-2 0,-3 3 0,2-4 0,-2 3 0,3-3 0,0-4 0,0 6 0,-7-13 0,5 13 0,-5-6 0,7 8 0,0 0 0,-4-8 0,3 6 0,-2-6 0,-1 4 0,3 4 0,-2 2 0,3 18 0,0 15 0,0 8 0,0 0 0,4 3 0,4-12 0,2 17 0,2-13 0,1 5 0,1 3 0,-1-12 0,2 3 0,-1-2 0,2-2 0,-3-3 0,3 9 0,-8-22 0,4 13 0,-5-15 0,0 2 0,0-3 0,0 0 0,-3 0 0,6 8 0,-5-6 0,3 9 0,-1-6 0,-3 7 0,0-7 0,7 7 0,-3-8 0,1 1 0,0-2 0,-1 1 0,0-3 0,-1 2 0,3 1 0,-5-3 0,9 6 0,-6-6 0,2 2 0,-3-6 0,0 2 0,4 2 0,-3 0 0,2 2 0,-3-3 0,0 4 0,0-3 0,1 10 0,-4-9 0,6 9 0,-4-6 0,4 3 0,-2 0 0,-4-3 0,0-2 0,-1-3 0,1 0 0,-1 4 0,4-4 0,-3 8 0,0-4 0,2 1 0,-5-2 0,5 1 0,-2-3 0,4 6 0,-4-6 0,2 2 0,-5-3 0,2 0 0,-3 0 0,3 0 0,5 12 0,1-9 0,-1 13 0,-1-11 0,-7-1 0,4 4 0,-4-7 0,3 6 0,5-3 0,-3 9 0,5 0 0,-6-3 0,4 5 0,3-9 0,-6-4 0,2-6 0,-11-18 0,0 3 0,-4-4 0,-4-13 0,3 18 0,0-17 0,3 16 0,5-3 0,-6 3 0,7 2 0,-11-5 0,9 6 0,-5-10 0,4 8 0,2-1 0,-6 1 0,3-4 0,0 6 0,-7-9 0,6 10 0,-2-3 0,1 4 0,2 0 0,0 0 0,-2 0 0,2 3 0,-3-2 0,0 2 0,0-3 0,-4-4 0,3 4 0,-6-8 0,6 7 0,-3-2 0,0-1 0,0 3 0,-5-3 0,5 9 0,3 6 0,5 12 0,3 4 0,0 5 0,0-8 0,0-3 0,0-3 0,0-3 0,0 6 0,0-2 0,0 3 0,0-4 0,0 3 0,0-6 0,0 3 0,4-1 0,-1-2 0,5 7 0,-1-8 0,1 12 0,2-7 0,-1 4 0,1-5 0,-3-5 0,4 5 0,-3-3 0,2 2 0,-3 1 0,4 1 0,-6-1 0,5 0 0,-6-5 0,3 1 0,-3 4 0,2-3 0,-2 2 0,2-3 0,5 4 0,1 0 0,-1 1 0,0-2 0,-4 1 0,0-3 0,0 2 0,4-2 0,-4-1 0,4 0 0,-4 0 0,0 0 0,0 0 0,0-4 0,3 0 0,-2 1 0,3-1 0,-4 4 0,3 4 0,-2-3 0,3 2 0,3-2 0,-5-1 0,6 0 0,-5-3 0,-2 2 0,3 2 0,-4-3 0,0 4 0,-3-1 0,2 0 0,-2 2 0,3-3 0,0 0 0,-3 0 0,2 4 0,2 0 0,-3 1 0,5-2 0,-6 1 0,0-13 0,-1 0 0,-11-22 0,3 2 0,-7-3 0,7-3 0,2-4 0,-1 1 0,3-9 0,-3 15 0,4-9 0,0 8 0,-8-13 0,6 2 0,-11-22 0,12 4 0,-4-17 0,5 16 0,0-2 0,-4 11 0,3 6 0,-7 0 0,7 15 0,-3-2 0,4 3 0,0 3 0,0 2 0,0 1 0,0 6 0,-8-15 0,6 14 0,-6-9 0,8 12 0,0-1 0,-3 1 0,2 4 0,-5 0 0,5 0 0,-5-8 0,-3-2 0,0-7 0,-3-5 0,4 3 0,-5-8 0,3-2 0,-3-5 0,4-6 0,-10-5 0,8 3 0,-8-3 0,14 5 0,-7 1 0,10-1 0,-11 0 0,8 6 0,-4-5 0,4 10 0,-7-5 0,10 1 0,-9 13 0,6-7 0,1 18 0,-3-8 0,-1 8 0,2 0 0,0 2 0,6 6 0,0-6 0,0 2 0,0-3 0,0 3 0,-4-6 0,-1 1 0,1-4 0,-3 2 0,6-5 0,-10-3 0,5-8 0,-3-5 0,1-1 0,3-1 0,0 2 0,-7-1 0,6 10 0,-3 0 0,5 8 0,4 16 0,0 39 0,0 8 0,0 48 0,0-25 0,0 3 0,0-8 0,0-15 0,0 3 0,0-11 0,0 5 0,0 7 0,0 1 0,0 10 0,0-4 0,0 0 0,0-2 0,0-15 0,4 7 0,-3-21 0,3 15 0,-1-24 0,-2 13 0,2-18 0,-3 5 0,0 1 0,0-6 0,3 6 0,-2-5 0,2-2 0,-3 3 0,3-1 0,-2-2 0,3 3 0,-4-4 0,3 0 0,1 3 0,0 2 0,-1-1 0,-3 3 0,0-2 0,0 7 0,0-3 0,0 8 0,0-8 0,0 0 0,0 2 0,0-9 0,0 14 0,0-11 0,0 4 0,0 2 0,4 4 0,-3-1 0,3 12 0,-4-12 0,0 9 0,3-6 0,-2-4 0,3-4 0,-4-2 0,3-6 0,-2 6 0,2 2 0,4 0 0,-6 4 0,9-5 0,-9 4 0,6-3 0,-6 4 0,6-5 0,-7 0 0,11 9 0,-9-10 0,10 18 0,-7-10 0,3 8 0,-3-5 0,6-1 0,-9-8 0,5 0 0,-7 7 0,3-13 0,1 17 0,4-14 0,3 6 0,-3-8 0,3 0 0,-4-4 0,0 0 0,-1 0 0,5 3 0,-6-8 0,2-7 0,-7-22 0,0-10 0,0-21 0,0 8 0,0-14 0,0 4 0,0 4 0,0 12 0,0 10 0,0 22 0,0-7 0,0 7 0,0-3 0,0 4 0,0-8 0,-8-2 0,6-5 0,-6-8 0,4 3 0,3-9 0,-6 13 0,6-12 0,-3 22 0,1-7 0,2 12 0,-2 2 0,3-1 0,0 3 0,0-3 0,0 4 0,0-8 0,0 3 0,0-12 0,0 11 0,-7-5 0,5 6 0,-5-3 0,7 0 0,-3 0 0,2-5 0,-2 4 0,-1-8 0,3 8 0,-2 0 0,3-2 0,0 9 0,0-6 0,-4 0 0,3-2 0,-11-12 0,7-2 0,-4 5 0,1-2 0,4 7 0,-1 1 0,1 4 0,-3-2 0,5 9 0,-5-6 0,7 4 0,0 17 0,0 1 0,0 22 0,0 1 0,0 11 0,0-5 0,0 4 0,0-5 0,0 0 0,0-5 0,0-5 0,0-1 0,0-8 0,0 8 0,0-4 0,0 5 0,0-5 0,0 3 0,0-6 0,0 6 0,0-10 0,0 1 0,0 1 0,0-6 0,0 6 0,0-1 0,0-5 0,0 6 0,0-4 0,0-4 0,0 4 0,0-4 0,0 4 0,0 0 0,0 1 0,0 6 0,0-6 0,4 12 0,-4-12 0,4 3 0,-4 0 0,3-2 0,-2 6 0,3-4 0,-4 9 0,4 2 0,4 5 0,-3-2 0,6-9 0,-7 4 0,1-8 0,2 7 0,-6-10 0,3 2 0,-1-1 0,1-5 0,4 10 0,-4-12 0,-1 4 0,-3-4 0,3 0 0,1-7 0,0 0 0,6-11 0,-6 3 0,4-6 0,-2 2 0,-1-3 0,6-5 0,-3 8 0,0 0 0,-5 9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12/10/19</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o for NEON Data Education Faculty Mentoring Network: To start, let me say that biology undergraduate education is not the same as a data science degree. However, we’re gathered here to talk about using data in our classrooms so I do think there is a intersection with discussions around data science and preparing students for a career that involves working with data – whether or not it is defined as data science. </a:t>
            </a:r>
          </a:p>
          <a:p>
            <a:endParaRPr lang="en-US" dirty="0"/>
          </a:p>
          <a:p>
            <a:r>
              <a:rPr lang="en-US" dirty="0"/>
              <a:t>[Instructor timing notes. </a:t>
            </a:r>
          </a:p>
          <a:p>
            <a:r>
              <a:rPr lang="en-US" dirty="0"/>
              <a:t>The full activity should take 10 minutes (if you want longer see the 30-minute version this was adapted from). </a:t>
            </a:r>
          </a:p>
          <a:p>
            <a:r>
              <a:rPr lang="en-US" dirty="0"/>
              <a:t>Presentation: Slide 1-10 – 3 mins</a:t>
            </a:r>
          </a:p>
          <a:p>
            <a:r>
              <a:rPr lang="en-US" dirty="0"/>
              <a:t>Activity Instructions: Slides X-x – 2 mins </a:t>
            </a:r>
          </a:p>
          <a:p>
            <a:r>
              <a:rPr lang="en-US" dirty="0"/>
              <a:t>Alone work time: 3 mins </a:t>
            </a:r>
          </a:p>
          <a:p>
            <a:r>
              <a:rPr lang="en-US" dirty="0"/>
              <a:t>Discussion: 2 mins – this can be much longer if you have time</a:t>
            </a:r>
          </a:p>
          <a:p>
            <a:r>
              <a:rPr lang="en-US" dirty="0"/>
              <a:t>]</a:t>
            </a:r>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36889200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g5bc6dc3928_0_223: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2" name="Google Shape;182;g5bc6dc3928_0_2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On a piece of paper, draw two cartesian planes (you’ll fill each of these with ~10 letters so make them large enough). </a:t>
            </a:r>
          </a:p>
          <a:p>
            <a:pPr marL="0" lvl="0" indent="0" algn="l" rtl="0">
              <a:spcBef>
                <a:spcPts val="0"/>
              </a:spcBef>
              <a:spcAft>
                <a:spcPts val="0"/>
              </a:spcAft>
              <a:buNone/>
            </a:pPr>
            <a:r>
              <a:rPr lang="en-US" dirty="0"/>
              <a:t>On one, label the vertical y-axis “Interest in building my skills’ and the horizontal x-axis “Confidence in my skill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n the second, label the vertical y-axis “</a:t>
            </a:r>
            <a:r>
              <a:rPr lang="en-US" sz="1200" dirty="0">
                <a:ln>
                  <a:noFill/>
                </a:ln>
                <a:effectLst/>
                <a:latin typeface="Calibri" panose="020F0502020204030204" pitchFamily="34" charset="0"/>
                <a:ea typeface="Calibri" panose="020F0502020204030204" pitchFamily="34" charset="0"/>
                <a:cs typeface="Times New Roman" panose="02020603050405020304" pitchFamily="18" charset="0"/>
              </a:rPr>
              <a:t>Importance in biology curriculum”</a:t>
            </a:r>
            <a:r>
              <a:rPr lang="en-US" dirty="0"/>
              <a:t> and the horizontal x-axis “</a:t>
            </a:r>
            <a:r>
              <a:rPr lang="en-US" sz="1200" dirty="0">
                <a:ln>
                  <a:noFill/>
                </a:ln>
                <a:effectLst/>
                <a:latin typeface="Calibri" panose="020F0502020204030204" pitchFamily="34" charset="0"/>
                <a:ea typeface="Calibri" panose="020F0502020204030204" pitchFamily="34" charset="0"/>
                <a:cs typeface="Times New Roman" panose="02020603050405020304" pitchFamily="18" charset="0"/>
              </a:rPr>
              <a:t>Current use in my teaching</a:t>
            </a:r>
            <a:r>
              <a:rPr lang="en-US" dirty="0"/>
              <a:t>”. </a:t>
            </a:r>
            <a:endParaRPr dirty="0"/>
          </a:p>
        </p:txBody>
      </p:sp>
    </p:spTree>
    <p:extLst>
      <p:ext uri="{BB962C8B-B14F-4D97-AF65-F5344CB8AC3E}">
        <p14:creationId xmlns:p14="http://schemas.microsoft.com/office/powerpoint/2010/main" val="16507911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p:cNvGrpSpPr/>
        <p:nvPr/>
      </p:nvGrpSpPr>
      <p:grpSpPr>
        <a:xfrm>
          <a:off x="0" y="0"/>
          <a:ext cx="0" cy="0"/>
          <a:chOff x="0" y="0"/>
          <a:chExt cx="0" cy="0"/>
        </a:xfrm>
      </p:grpSpPr>
      <p:sp>
        <p:nvSpPr>
          <p:cNvPr id="153" name="Google Shape;153;g5bc6dc3928_0_134: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 name="Google Shape;154;g5bc6dc3928_0_1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If you both have a sense for what the concept means and you think it is relevant, then proceed to mapping the concept on the four axis provided. </a:t>
            </a:r>
          </a:p>
          <a:p>
            <a:pPr marL="171450" lvl="0" indent="-171450" algn="l" rtl="0">
              <a:spcBef>
                <a:spcPts val="0"/>
              </a:spcBef>
              <a:spcAft>
                <a:spcPts val="0"/>
              </a:spcAft>
              <a:buFont typeface="Arial" panose="020B0604020202020204" pitchFamily="34" charset="0"/>
              <a:buChar char="•"/>
            </a:pPr>
            <a:r>
              <a:rPr lang="en" dirty="0"/>
              <a:t>Interest in building my skill by confidence in my skills </a:t>
            </a:r>
          </a:p>
          <a:p>
            <a:pPr marL="171450" lvl="0" indent="-171450" algn="l" rtl="0">
              <a:spcBef>
                <a:spcPts val="0"/>
              </a:spcBef>
              <a:spcAft>
                <a:spcPts val="0"/>
              </a:spcAft>
              <a:buFont typeface="Arial" panose="020B0604020202020204" pitchFamily="34" charset="0"/>
              <a:buChar char="•"/>
            </a:pPr>
            <a:r>
              <a:rPr lang="en" dirty="0"/>
              <a:t>Importance in biology curriculum by current use in my teaching </a:t>
            </a:r>
          </a:p>
          <a:p>
            <a:pPr marL="0" lvl="0" indent="0" algn="l" rtl="0">
              <a:spcBef>
                <a:spcPts val="0"/>
              </a:spcBef>
              <a:spcAft>
                <a:spcPts val="0"/>
              </a:spcAft>
              <a:buNone/>
            </a:pPr>
            <a:endParaRPr lang="en" dirty="0"/>
          </a:p>
          <a:p>
            <a:pPr marL="0" lvl="0" indent="0" algn="l" rtl="0">
              <a:spcBef>
                <a:spcPts val="0"/>
              </a:spcBef>
              <a:spcAft>
                <a:spcPts val="0"/>
              </a:spcAft>
              <a:buNone/>
            </a:pPr>
            <a:r>
              <a:rPr lang="en" dirty="0"/>
              <a:t>To do this, map the letter for that concept on to plane the according to how you regarding the key concept and the two scales. For example, I’m not very confident in my mathematical foundation skills and feel they are below average for what I would like them to be (click: star 1) and I’m relatively motivated to build my skills around mathematical foundations (click: star 2) then I’d place “A” in the upper left quadrant (click: A).  </a:t>
            </a:r>
          </a:p>
        </p:txBody>
      </p:sp>
    </p:spTree>
    <p:extLst>
      <p:ext uri="{BB962C8B-B14F-4D97-AF65-F5344CB8AC3E}">
        <p14:creationId xmlns:p14="http://schemas.microsoft.com/office/powerpoint/2010/main" val="35582068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6"/>
        <p:cNvGrpSpPr/>
        <p:nvPr/>
      </p:nvGrpSpPr>
      <p:grpSpPr>
        <a:xfrm>
          <a:off x="0" y="0"/>
          <a:ext cx="0" cy="0"/>
          <a:chOff x="0" y="0"/>
          <a:chExt cx="0" cy="0"/>
        </a:xfrm>
      </p:grpSpPr>
      <p:sp>
        <p:nvSpPr>
          <p:cNvPr id="187" name="Google Shape;187;g5bc6dc3928_0_215: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8" name="Google Shape;188;g5bc6dc3928_0_2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Instructor note: used to address inevitable questions as to why we would do this]</a:t>
            </a:r>
            <a:endParaRPr dirty="0"/>
          </a:p>
        </p:txBody>
      </p:sp>
    </p:spTree>
    <p:extLst>
      <p:ext uri="{BB962C8B-B14F-4D97-AF65-F5344CB8AC3E}">
        <p14:creationId xmlns:p14="http://schemas.microsoft.com/office/powerpoint/2010/main" val="32151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Work on your maps individually (3 mins)</a:t>
            </a:r>
          </a:p>
          <a:p>
            <a:pPr marL="0" indent="0">
              <a:spcBef>
                <a:spcPts val="1600"/>
              </a:spcBef>
              <a:spcAft>
                <a:spcPts val="1600"/>
              </a:spcAft>
              <a:buNone/>
            </a:pPr>
            <a:r>
              <a:rPr lang="en-US" dirty="0"/>
              <a:t>Quick group debrief (2 min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structor note: The goal with this structure is to allow everyone to record their data individually and then compare and contrast their mapping of the landscape with their peers. There is no right answer and participants may interpret the task or the concepts different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f working in a large group and you have time, consider three step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ndividual (3-5 mi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mall group (groups of 3-4, 5 mi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Full group debrief.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3</a:t>
            </a:fld>
            <a:endParaRPr lang="en-US" dirty="0"/>
          </a:p>
        </p:txBody>
      </p:sp>
    </p:spTree>
    <p:extLst>
      <p:ext uri="{BB962C8B-B14F-4D97-AF65-F5344CB8AC3E}">
        <p14:creationId xmlns:p14="http://schemas.microsoft.com/office/powerpoint/2010/main" val="41005737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tructor Note: static slide to have up during debrief, if desired. </a:t>
            </a:r>
          </a:p>
        </p:txBody>
      </p:sp>
      <p:sp>
        <p:nvSpPr>
          <p:cNvPr id="4" name="Slide Number Placeholder 3"/>
          <p:cNvSpPr>
            <a:spLocks noGrp="1"/>
          </p:cNvSpPr>
          <p:nvPr>
            <p:ph type="sldNum" sz="quarter" idx="5"/>
          </p:nvPr>
        </p:nvSpPr>
        <p:spPr/>
        <p:txBody>
          <a:bodyPr/>
          <a:lstStyle/>
          <a:p>
            <a:fld id="{AA537934-768C-4C37-BAD1-E522F3AEBAF7}" type="slidenum">
              <a:rPr lang="en-US" smtClean="0"/>
              <a:t>14</a:t>
            </a:fld>
            <a:endParaRPr lang="en-US" dirty="0"/>
          </a:p>
        </p:txBody>
      </p:sp>
    </p:spTree>
    <p:extLst>
      <p:ext uri="{BB962C8B-B14F-4D97-AF65-F5344CB8AC3E}">
        <p14:creationId xmlns:p14="http://schemas.microsoft.com/office/powerpoint/2010/main" val="4215642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p:cNvGrpSpPr/>
        <p:nvPr/>
      </p:nvGrpSpPr>
      <p:grpSpPr>
        <a:xfrm>
          <a:off x="0" y="0"/>
          <a:ext cx="0" cy="0"/>
          <a:chOff x="0" y="0"/>
          <a:chExt cx="0" cy="0"/>
        </a:xfrm>
      </p:grpSpPr>
      <p:sp>
        <p:nvSpPr>
          <p:cNvPr id="153" name="Google Shape;153;g5bc6dc3928_0_134: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 name="Google Shape;154;g5bc6dc3928_0_1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Instructor Notes: This is the beginning of the instructions for the activity. This version is designed for </a:t>
            </a:r>
            <a:r>
              <a:rPr lang="en-US" dirty="0"/>
              <a:t>use with a paper handout.</a:t>
            </a:r>
            <a:r>
              <a:rPr lang="en" dirty="0"/>
              <a:t>]</a:t>
            </a:r>
          </a:p>
          <a:p>
            <a:pPr marL="0" lvl="0" indent="0" algn="l" rtl="0">
              <a:spcBef>
                <a:spcPts val="0"/>
              </a:spcBef>
              <a:spcAft>
                <a:spcPts val="0"/>
              </a:spcAft>
              <a:buNone/>
            </a:pPr>
            <a:endParaRPr lang="en" dirty="0"/>
          </a:p>
          <a:p>
            <a:pPr marL="0" lvl="0" indent="0" algn="l" rtl="0">
              <a:spcBef>
                <a:spcPts val="0"/>
              </a:spcBef>
              <a:spcAft>
                <a:spcPts val="0"/>
              </a:spcAft>
              <a:buNone/>
            </a:pPr>
            <a:r>
              <a:rPr lang="en" dirty="0"/>
              <a:t>For each of those key concepts identified in the NAS report we are going to think about how we connect with it along several dimensions. The first consideration involves deciding if we know what they mean with that concept label. </a:t>
            </a:r>
          </a:p>
          <a:p>
            <a:pPr marL="0" lvl="0" indent="0" algn="l" rtl="0">
              <a:spcBef>
                <a:spcPts val="0"/>
              </a:spcBef>
              <a:spcAft>
                <a:spcPts val="0"/>
              </a:spcAft>
              <a:buNone/>
            </a:pPr>
            <a:endParaRPr lang="en" dirty="0"/>
          </a:p>
          <a:p>
            <a:pPr marL="0" lvl="0" indent="0" algn="l" rtl="0">
              <a:spcBef>
                <a:spcPts val="0"/>
              </a:spcBef>
              <a:spcAft>
                <a:spcPts val="0"/>
              </a:spcAft>
              <a:buNone/>
            </a:pPr>
            <a:r>
              <a:rPr lang="en" dirty="0"/>
              <a:t>For each concept you need to determine if you think you know what they mean by that and if it is relevant to you.  </a:t>
            </a:r>
            <a:br>
              <a:rPr lang="en" dirty="0"/>
            </a:br>
            <a:endParaRPr lang="en" dirty="0"/>
          </a:p>
          <a:p>
            <a:pPr marL="0" lvl="0" indent="0" algn="l" rtl="0">
              <a:spcBef>
                <a:spcPts val="0"/>
              </a:spcBef>
              <a:spcAft>
                <a:spcPts val="0"/>
              </a:spcAft>
              <a:buNone/>
            </a:pPr>
            <a:r>
              <a:rPr lang="en" dirty="0"/>
              <a:t>Not sure what it means: Think about the key concept, if you are not sure what they mean by a concept (e.g., mathematical foundations) put an X on that line. If you do, skip to the next concept. If you feel you have a sense of what they mean with the concept label, then consider the next option. </a:t>
            </a:r>
          </a:p>
          <a:p>
            <a:pPr marL="0" lvl="0" indent="0" algn="l" rtl="0">
              <a:spcBef>
                <a:spcPts val="0"/>
              </a:spcBef>
              <a:spcAft>
                <a:spcPts val="0"/>
              </a:spcAft>
              <a:buNone/>
            </a:pPr>
            <a:r>
              <a:rPr lang="en" dirty="0"/>
              <a:t>Not relevant to me: Is that concept relevant to you as an undergraduate biology educator? If not, mark and X and you are done with that concept and can skip to the next line. </a:t>
            </a:r>
            <a:endParaRPr dirty="0"/>
          </a:p>
        </p:txBody>
      </p:sp>
    </p:spTree>
    <p:extLst>
      <p:ext uri="{BB962C8B-B14F-4D97-AF65-F5344CB8AC3E}">
        <p14:creationId xmlns:p14="http://schemas.microsoft.com/office/powerpoint/2010/main" val="9969929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p:cNvGrpSpPr/>
        <p:nvPr/>
      </p:nvGrpSpPr>
      <p:grpSpPr>
        <a:xfrm>
          <a:off x="0" y="0"/>
          <a:ext cx="0" cy="0"/>
          <a:chOff x="0" y="0"/>
          <a:chExt cx="0" cy="0"/>
        </a:xfrm>
      </p:grpSpPr>
      <p:sp>
        <p:nvSpPr>
          <p:cNvPr id="153" name="Google Shape;153;g5bc6dc3928_0_134: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 name="Google Shape;154;g5bc6dc3928_0_1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If you both have a sense for what the concept means and you think it is relevant, then proceed to mapping the concept on the four axis provided. </a:t>
            </a:r>
          </a:p>
          <a:p>
            <a:pPr marL="171450" lvl="0" indent="-171450" algn="l" rtl="0">
              <a:spcBef>
                <a:spcPts val="0"/>
              </a:spcBef>
              <a:spcAft>
                <a:spcPts val="0"/>
              </a:spcAft>
              <a:buFont typeface="Arial" panose="020B0604020202020204" pitchFamily="34" charset="0"/>
              <a:buChar char="•"/>
            </a:pPr>
            <a:r>
              <a:rPr lang="en" dirty="0"/>
              <a:t>Interest in building my skill by confidence in my skills </a:t>
            </a:r>
          </a:p>
          <a:p>
            <a:pPr marL="171450" lvl="0" indent="-171450" algn="l" rtl="0">
              <a:spcBef>
                <a:spcPts val="0"/>
              </a:spcBef>
              <a:spcAft>
                <a:spcPts val="0"/>
              </a:spcAft>
              <a:buFont typeface="Arial" panose="020B0604020202020204" pitchFamily="34" charset="0"/>
              <a:buChar char="•"/>
            </a:pPr>
            <a:r>
              <a:rPr lang="en" dirty="0"/>
              <a:t>Importance in biology curriculum by current use in my teaching </a:t>
            </a:r>
          </a:p>
          <a:p>
            <a:pPr marL="0" lvl="0" indent="0" algn="l" rtl="0">
              <a:spcBef>
                <a:spcPts val="0"/>
              </a:spcBef>
              <a:spcAft>
                <a:spcPts val="0"/>
              </a:spcAft>
              <a:buNone/>
            </a:pPr>
            <a:endParaRPr lang="en" dirty="0"/>
          </a:p>
          <a:p>
            <a:pPr marL="0" lvl="0" indent="0" algn="l" rtl="0">
              <a:spcBef>
                <a:spcPts val="0"/>
              </a:spcBef>
              <a:spcAft>
                <a:spcPts val="0"/>
              </a:spcAft>
              <a:buNone/>
            </a:pPr>
            <a:r>
              <a:rPr lang="en" dirty="0"/>
              <a:t>To do this, map the letter for that concept on to a plane the according to how you regarding the key concept and the two scales. For example, I’m not very confident in my mathematical foundation skills and feel they are below average for what I would like them to be (click: star 1) and I’m relatively motivated to build my skills around mathematical foundations (click: star 2) then I’d place “A” in the upper left quadrant (click: A).  </a:t>
            </a:r>
          </a:p>
          <a:p>
            <a:pPr marL="0" lvl="0" indent="0" algn="l" rtl="0">
              <a:spcBef>
                <a:spcPts val="0"/>
              </a:spcBef>
              <a:spcAft>
                <a:spcPts val="0"/>
              </a:spcAft>
              <a:buNone/>
            </a:pPr>
            <a:endParaRPr lang="en" dirty="0"/>
          </a:p>
          <a:p>
            <a:pPr marL="0" lvl="0" indent="0" algn="l" rtl="0">
              <a:spcBef>
                <a:spcPts val="0"/>
              </a:spcBef>
              <a:spcAft>
                <a:spcPts val="0"/>
              </a:spcAft>
              <a:buNone/>
            </a:pPr>
            <a:r>
              <a:rPr lang="en" dirty="0"/>
              <a:t>Do this both both planes. </a:t>
            </a:r>
          </a:p>
        </p:txBody>
      </p:sp>
    </p:spTree>
    <p:extLst>
      <p:ext uri="{BB962C8B-B14F-4D97-AF65-F5344CB8AC3E}">
        <p14:creationId xmlns:p14="http://schemas.microsoft.com/office/powerpoint/2010/main" val="13051923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Google Shape;181;g5bc6dc3928_0_223: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2" name="Google Shape;182;g5bc6dc3928_0_2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Instructor note: Hand out the activity sheet and answer any questions to clarify the task.</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 dirty="0"/>
              <a:t>The goal with this structure is to allow everyone to record their data individually and then compare and contrast their mapping of the landscape with their peers. There is no right answer and participants may interpret the task or the concepts differently.]</a:t>
            </a:r>
            <a:endParaRPr dirty="0"/>
          </a:p>
        </p:txBody>
      </p:sp>
    </p:spTree>
    <p:extLst>
      <p:ext uri="{BB962C8B-B14F-4D97-AF65-F5344CB8AC3E}">
        <p14:creationId xmlns:p14="http://schemas.microsoft.com/office/powerpoint/2010/main" val="912417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g5a6f1c3eb4_0_31: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 name="Google Shape;96;g5a6f1c3eb4_0_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Six years ago, the Harvard Business Review named data scientist the "sexiest job of the 21st century.” Since then, data scientist has become one of the US's fastest-growing professions, with graduates achieving six-digit starting salaries and employer demand continuing to outstrip supply.</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 dirty="0"/>
              <a:t>There is currently a lot of hype around data science but it is difficult to define.</a:t>
            </a:r>
            <a:endParaRPr dirty="0"/>
          </a:p>
        </p:txBody>
      </p:sp>
    </p:spTree>
    <p:extLst>
      <p:ext uri="{BB962C8B-B14F-4D97-AF65-F5344CB8AC3E}">
        <p14:creationId xmlns:p14="http://schemas.microsoft.com/office/powerpoint/2010/main" val="17685735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
        <p:cNvGrpSpPr/>
        <p:nvPr/>
      </p:nvGrpSpPr>
      <p:grpSpPr>
        <a:xfrm>
          <a:off x="0" y="0"/>
          <a:ext cx="0" cy="0"/>
          <a:chOff x="0" y="0"/>
          <a:chExt cx="0" cy="0"/>
        </a:xfrm>
      </p:grpSpPr>
      <p:sp>
        <p:nvSpPr>
          <p:cNvPr id="110" name="Google Shape;110;g1d9c67055b_0_93: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 name="Google Shape;111;g1d9c67055b_0_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dirty="0"/>
              <a:t>In 2010 Drew Conway developed his characterization of data science and shared it in a 2013 blog post which included this Venn diagram. (Click: Text) </a:t>
            </a:r>
            <a:r>
              <a:rPr lang="en-US" dirty="0"/>
              <a:t>His goal was to define data science at a high level to avoid discussing particular tools or platforms.</a:t>
            </a:r>
            <a:endParaRPr dirty="0"/>
          </a:p>
          <a:p>
            <a:pPr marL="0" lvl="0" indent="0" algn="l" rtl="0">
              <a:spcBef>
                <a:spcPts val="0"/>
              </a:spcBef>
              <a:spcAft>
                <a:spcPts val="0"/>
              </a:spcAft>
              <a:buNone/>
            </a:pPr>
            <a:r>
              <a:rPr lang="en" dirty="0"/>
              <a:t> </a:t>
            </a:r>
            <a:endParaRPr dirty="0"/>
          </a:p>
          <a:p>
            <a:pPr marL="0" lvl="0" indent="0" algn="l" rtl="0">
              <a:spcBef>
                <a:spcPts val="0"/>
              </a:spcBef>
              <a:spcAft>
                <a:spcPts val="0"/>
              </a:spcAft>
              <a:buNone/>
            </a:pPr>
            <a:r>
              <a:rPr lang="en" dirty="0"/>
              <a:t>This begat an outpouring of different (and often humorous) Venn diagrams trying to characterized data science. The battle of the data science Venn diagrams is a humorous tour through some of these representations. </a:t>
            </a:r>
            <a:endParaRPr dirty="0"/>
          </a:p>
        </p:txBody>
      </p:sp>
    </p:spTree>
    <p:extLst>
      <p:ext uri="{BB962C8B-B14F-4D97-AF65-F5344CB8AC3E}">
        <p14:creationId xmlns:p14="http://schemas.microsoft.com/office/powerpoint/2010/main" val="872203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p:cNvGrpSpPr/>
        <p:nvPr/>
      </p:nvGrpSpPr>
      <p:grpSpPr>
        <a:xfrm>
          <a:off x="0" y="0"/>
          <a:ext cx="0" cy="0"/>
          <a:chOff x="0" y="0"/>
          <a:chExt cx="0" cy="0"/>
        </a:xfrm>
      </p:grpSpPr>
      <p:sp>
        <p:nvSpPr>
          <p:cNvPr id="118" name="Google Shape;118;g5a6f1c3eb4_0_22: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9" name="Google Shape;119;g5a6f1c3eb4_0_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In 2014, responding to Conway’s diagram, </a:t>
            </a:r>
            <a:r>
              <a:rPr lang="en" dirty="0" err="1"/>
              <a:t>Geringer</a:t>
            </a:r>
            <a:r>
              <a:rPr lang="en" dirty="0"/>
              <a:t> shared this representation. Note that data science has moved from the intersection of several areas to a much more inclusive superset that spans those areas. (Click: Unicorn text) The joke here is that no one has the perfect intersection of these diverse skills, thus the data science unicorn is born. </a:t>
            </a:r>
            <a:endParaRPr dirty="0"/>
          </a:p>
          <a:p>
            <a:pPr marL="0" lvl="0" indent="0" algn="l" rtl="0">
              <a:spcBef>
                <a:spcPts val="0"/>
              </a:spcBef>
              <a:spcAft>
                <a:spcPts val="0"/>
              </a:spcAft>
              <a:buNone/>
            </a:pPr>
            <a:endParaRPr dirty="0"/>
          </a:p>
        </p:txBody>
      </p:sp>
    </p:spTree>
    <p:extLst>
      <p:ext uri="{BB962C8B-B14F-4D97-AF65-F5344CB8AC3E}">
        <p14:creationId xmlns:p14="http://schemas.microsoft.com/office/powerpoint/2010/main" val="17661374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
        <p:cNvGrpSpPr/>
        <p:nvPr/>
      </p:nvGrpSpPr>
      <p:grpSpPr>
        <a:xfrm>
          <a:off x="0" y="0"/>
          <a:ext cx="0" cy="0"/>
          <a:chOff x="0" y="0"/>
          <a:chExt cx="0" cy="0"/>
        </a:xfrm>
      </p:grpSpPr>
      <p:sp>
        <p:nvSpPr>
          <p:cNvPr id="126" name="Google Shape;126;g5bc6dc3928_0_94: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7" name="Google Shape;127;g5bc6dc3928_0_9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In 2018 the National Academies of Science produced a consensus study report that directly addressed data science in undergraduate educational contexts. Among the findings #2.3 is highlighted here because it features the notion of building decision making skills (acumen) as a key educational target. The full report and a wide range of ancillary materials are available online. </a:t>
            </a:r>
            <a:endParaRPr dirty="0"/>
          </a:p>
        </p:txBody>
      </p:sp>
    </p:spTree>
    <p:extLst>
      <p:ext uri="{BB962C8B-B14F-4D97-AF65-F5344CB8AC3E}">
        <p14:creationId xmlns:p14="http://schemas.microsoft.com/office/powerpoint/2010/main" val="42005001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g5bc6dc3928_0_121: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 name="Google Shape;135;g5bc6dc3928_0_1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The NAS report goes on to identify key concepts involved in developing data acumen. This list is shared as part of the introduction to this activity to show the intimidating breadth of concepts addressed and remind all of us that (once again) we are not going to be able to do everything. But considering what you intentionally cover and don’t cover can be worthwhile. </a:t>
            </a:r>
            <a:endParaRPr dirty="0"/>
          </a:p>
        </p:txBody>
      </p:sp>
    </p:spTree>
    <p:extLst>
      <p:ext uri="{BB962C8B-B14F-4D97-AF65-F5344CB8AC3E}">
        <p14:creationId xmlns:p14="http://schemas.microsoft.com/office/powerpoint/2010/main" val="16706309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
        <p:cNvGrpSpPr/>
        <p:nvPr/>
      </p:nvGrpSpPr>
      <p:grpSpPr>
        <a:xfrm>
          <a:off x="0" y="0"/>
          <a:ext cx="0" cy="0"/>
          <a:chOff x="0" y="0"/>
          <a:chExt cx="0" cy="0"/>
        </a:xfrm>
      </p:grpSpPr>
      <p:sp>
        <p:nvSpPr>
          <p:cNvPr id="140" name="Google Shape;140;g5bc6dc3928_0_196: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1" name="Google Shape;141;g5bc6dc3928_0_19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The goal of this slide was to resolve the tension generated by the comprehensive list of concepts on the previous slide. As biology educators our focus is on the exploration of the intersection shown here.</a:t>
            </a:r>
            <a:endParaRPr/>
          </a:p>
        </p:txBody>
      </p:sp>
    </p:spTree>
    <p:extLst>
      <p:ext uri="{BB962C8B-B14F-4D97-AF65-F5344CB8AC3E}">
        <p14:creationId xmlns:p14="http://schemas.microsoft.com/office/powerpoint/2010/main" val="22320518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
        <p:cNvGrpSpPr/>
        <p:nvPr/>
      </p:nvGrpSpPr>
      <p:grpSpPr>
        <a:xfrm>
          <a:off x="0" y="0"/>
          <a:ext cx="0" cy="0"/>
          <a:chOff x="0" y="0"/>
          <a:chExt cx="0" cy="0"/>
        </a:xfrm>
      </p:grpSpPr>
      <p:sp>
        <p:nvSpPr>
          <p:cNvPr id="147" name="Google Shape;147;g5bc6dc3928_0_209: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8" name="Google Shape;148;g5bc6dc3928_0_20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It would be a disservice to our students if we did not expose them to some data science principles and practices from a biology perspective. Moreover, we need to actively define the intersection of undergraduate biology education and data science or it is going to be defined for us. </a:t>
            </a:r>
            <a:endParaRPr dirty="0"/>
          </a:p>
        </p:txBody>
      </p:sp>
    </p:spTree>
    <p:extLst>
      <p:ext uri="{BB962C8B-B14F-4D97-AF65-F5344CB8AC3E}">
        <p14:creationId xmlns:p14="http://schemas.microsoft.com/office/powerpoint/2010/main" val="22465399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p:cNvGrpSpPr/>
        <p:nvPr/>
      </p:nvGrpSpPr>
      <p:grpSpPr>
        <a:xfrm>
          <a:off x="0" y="0"/>
          <a:ext cx="0" cy="0"/>
          <a:chOff x="0" y="0"/>
          <a:chExt cx="0" cy="0"/>
        </a:xfrm>
      </p:grpSpPr>
      <p:sp>
        <p:nvSpPr>
          <p:cNvPr id="153" name="Google Shape;153;g5bc6dc3928_0_134: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4" name="Google Shape;154;g5bc6dc3928_0_1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Instructor Notes: This is the beginning of the instructions for the activity. This version is designed for online use and people will draw their own cartesian planes for the activity.  If you are using the handout, swap Slides 9,10,11, and 13 for the Alternative Activity Instruction slides at end of </a:t>
            </a:r>
            <a:r>
              <a:rPr lang="en-US" dirty="0"/>
              <a:t>presentation.</a:t>
            </a:r>
            <a:r>
              <a:rPr lang="en" dirty="0"/>
              <a:t>]</a:t>
            </a:r>
          </a:p>
          <a:p>
            <a:pPr marL="0" lvl="0" indent="0" algn="l" rtl="0">
              <a:spcBef>
                <a:spcPts val="0"/>
              </a:spcBef>
              <a:spcAft>
                <a:spcPts val="0"/>
              </a:spcAft>
              <a:buNone/>
            </a:pPr>
            <a:endParaRPr lang="en" dirty="0"/>
          </a:p>
          <a:p>
            <a:pPr marL="0" lvl="0" indent="0" algn="l" rtl="0">
              <a:spcBef>
                <a:spcPts val="0"/>
              </a:spcBef>
              <a:spcAft>
                <a:spcPts val="0"/>
              </a:spcAft>
              <a:buNone/>
            </a:pPr>
            <a:r>
              <a:rPr lang="en" dirty="0"/>
              <a:t>For each of those key concepts identified in the NAS report we are going to think about how we connect with it along several dimensions. The first consideration involves deciding if we know what they mean with that concept label. </a:t>
            </a:r>
          </a:p>
          <a:p>
            <a:pPr marL="0" lvl="0" indent="0" algn="l" rtl="0">
              <a:spcBef>
                <a:spcPts val="0"/>
              </a:spcBef>
              <a:spcAft>
                <a:spcPts val="0"/>
              </a:spcAft>
              <a:buNone/>
            </a:pPr>
            <a:endParaRPr lang="en" dirty="0"/>
          </a:p>
          <a:p>
            <a:pPr marL="0" lvl="0" indent="0" algn="l" rtl="0">
              <a:spcBef>
                <a:spcPts val="0"/>
              </a:spcBef>
              <a:spcAft>
                <a:spcPts val="0"/>
              </a:spcAft>
              <a:buNone/>
            </a:pPr>
            <a:r>
              <a:rPr lang="en" dirty="0"/>
              <a:t>For each concept you need to determine if you think you know what they mean by that and if it is relevant to you.  </a:t>
            </a:r>
            <a:br>
              <a:rPr lang="en" dirty="0"/>
            </a:br>
            <a:endParaRPr lang="en" dirty="0"/>
          </a:p>
          <a:p>
            <a:pPr marL="0" lvl="0" indent="0" algn="l" rtl="0">
              <a:spcBef>
                <a:spcPts val="0"/>
              </a:spcBef>
              <a:spcAft>
                <a:spcPts val="0"/>
              </a:spcAft>
              <a:buNone/>
            </a:pPr>
            <a:r>
              <a:rPr lang="en" dirty="0"/>
              <a:t>Not sure what it means: Think about the key concept, if you are not sure what they mean by a concept (e.g., mathematical foundations) put an X on that line. If you do, skip to the next concept. If you feel you have a sense of what they mean with the concept label, then consider the next option. </a:t>
            </a:r>
          </a:p>
          <a:p>
            <a:pPr marL="0" lvl="0" indent="0" algn="l" rtl="0">
              <a:spcBef>
                <a:spcPts val="0"/>
              </a:spcBef>
              <a:spcAft>
                <a:spcPts val="0"/>
              </a:spcAft>
              <a:buNone/>
            </a:pPr>
            <a:r>
              <a:rPr lang="en" dirty="0"/>
              <a:t>Not relevant to me: Is that concept relevant to you as an undergraduate biology educator? If not, mark and X and you are done with that concept and can skip to the next line. </a:t>
            </a:r>
            <a:endParaRPr dirty="0"/>
          </a:p>
        </p:txBody>
      </p:sp>
    </p:spTree>
    <p:extLst>
      <p:ext uri="{BB962C8B-B14F-4D97-AF65-F5344CB8AC3E}">
        <p14:creationId xmlns:p14="http://schemas.microsoft.com/office/powerpoint/2010/main" val="18259089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EXTERNAL">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0CB85C65-E012-498F-A0A2-9D49524AB76B}"/>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0"/>
            <a:ext cx="9144000" cy="6371772"/>
          </a:xfrm>
          <a:prstGeom prst="rect">
            <a:avLst/>
          </a:prstGeom>
        </p:spPr>
      </p:pic>
      <p:sp>
        <p:nvSpPr>
          <p:cNvPr id="15" name="Rectangle 14"/>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3849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0" name="Rectangle 19"/>
          <p:cNvSpPr/>
          <p:nvPr/>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bwMode="gray">
          <a:xfrm>
            <a:off x="466344" y="5138928"/>
            <a:ext cx="8211312" cy="621243"/>
          </a:xfrm>
        </p:spPr>
        <p:txBody>
          <a:bodyPr vert="horz" lIns="0" tIns="0" rIns="0" bIns="0" rtlCol="0">
            <a:noAutofit/>
          </a:bodyPr>
          <a:lstStyle>
            <a:lvl1pPr marL="342900" indent="-342900">
              <a:buFont typeface="Arial" pitchFamily="34" charset="0"/>
              <a:buNone/>
              <a:defRPr lang="en-US" sz="2100" dirty="0">
                <a:solidFill>
                  <a:schemeClr val="bg1"/>
                </a:solidFill>
              </a:defRPr>
            </a:lvl1pPr>
          </a:lstStyle>
          <a:p>
            <a:pPr marL="0" lvl="0" indent="0"/>
            <a:r>
              <a:rPr lang="en-US" dirty="0"/>
              <a:t>Click to edit master subtitle style</a:t>
            </a:r>
          </a:p>
        </p:txBody>
      </p:sp>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9" name="Slide Number Placeholder 5"/>
          <p:cNvSpPr>
            <a:spLocks noGrp="1"/>
          </p:cNvSpPr>
          <p:nvPr>
            <p:ph type="sldNum" sz="quarter" idx="4"/>
          </p:nvPr>
        </p:nvSpPr>
        <p:spPr>
          <a:xfrm>
            <a:off x="466344"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2" name="TextBox 11" descr="CONFIDENTIAL_TAG_0xFFEE">
            <a:extLst>
              <a:ext uri="{FF2B5EF4-FFF2-40B4-BE49-F238E27FC236}">
                <a16:creationId xmlns:a16="http://schemas.microsoft.com/office/drawing/2014/main" id="{DDDFCC63-7F7E-4941-8A8C-42A20F027FF9}"/>
              </a:ext>
            </a:extLst>
          </p:cNvPr>
          <p:cNvSpPr txBox="1"/>
          <p:nvPr userDrawn="1"/>
        </p:nvSpPr>
        <p:spPr>
          <a:xfrm>
            <a:off x="3291949" y="6539170"/>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pic>
        <p:nvPicPr>
          <p:cNvPr id="24" name="Picture 23">
            <a:extLst>
              <a:ext uri="{FF2B5EF4-FFF2-40B4-BE49-F238E27FC236}">
                <a16:creationId xmlns:a16="http://schemas.microsoft.com/office/drawing/2014/main" id="{7DE8F052-DE5F-42CC-BE6B-8CEC57670357}"/>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6169848" y="414338"/>
            <a:ext cx="2505831" cy="914400"/>
          </a:xfrm>
          <a:prstGeom prst="rect">
            <a:avLst/>
          </a:prstGeom>
        </p:spPr>
      </p:pic>
      <p:sp>
        <p:nvSpPr>
          <p:cNvPr id="10" name="TextBox 9">
            <a:extLst>
              <a:ext uri="{FF2B5EF4-FFF2-40B4-BE49-F238E27FC236}">
                <a16:creationId xmlns:a16="http://schemas.microsoft.com/office/drawing/2014/main" id="{EBFEE2BE-FE3E-4787-9764-7D26413A08B8}"/>
              </a:ext>
            </a:extLst>
          </p:cNvPr>
          <p:cNvSpPr txBox="1"/>
          <p:nvPr userDrawn="1"/>
        </p:nvSpPr>
        <p:spPr>
          <a:xfrm>
            <a:off x="714394" y="6444351"/>
            <a:ext cx="470810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This material is based upon work supported by NSF’s National Ecological Observatory Network which is a major facility fully funded by the National Science Foundation</a:t>
            </a:r>
          </a:p>
        </p:txBody>
      </p:sp>
      <p:sp>
        <p:nvSpPr>
          <p:cNvPr id="14" name="Rectangle 13">
            <a:extLst>
              <a:ext uri="{FF2B5EF4-FFF2-40B4-BE49-F238E27FC236}">
                <a16:creationId xmlns:a16="http://schemas.microsoft.com/office/drawing/2014/main" id="{D8A01D69-D1B5-0845-B6DA-81B0A16CF810}"/>
              </a:ext>
            </a:extLst>
          </p:cNvPr>
          <p:cNvSpPr/>
          <p:nvPr userDrawn="1"/>
        </p:nvSpPr>
        <p:spPr bwMode="auto">
          <a:xfrm>
            <a:off x="7616142" y="6452653"/>
            <a:ext cx="1527858"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50208" cy="338328"/>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4" name="Content Placeholder 3"/>
          <p:cNvSpPr>
            <a:spLocks noGrp="1"/>
          </p:cNvSpPr>
          <p:nvPr>
            <p:ph sz="half" idx="2" hasCustomPrompt="1"/>
          </p:nvPr>
        </p:nvSpPr>
        <p:spPr>
          <a:xfrm>
            <a:off x="466344" y="1892808"/>
            <a:ext cx="3950208"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hasCustomPrompt="1"/>
          </p:nvPr>
        </p:nvSpPr>
        <p:spPr>
          <a:xfrm>
            <a:off x="4727448" y="1481328"/>
            <a:ext cx="3950208" cy="338328"/>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6" name="Content Placeholder 5"/>
          <p:cNvSpPr>
            <a:spLocks noGrp="1"/>
          </p:cNvSpPr>
          <p:nvPr>
            <p:ph sz="quarter" idx="4" hasCustomPrompt="1"/>
          </p:nvPr>
        </p:nvSpPr>
        <p:spPr>
          <a:xfrm>
            <a:off x="4727448" y="1892808"/>
            <a:ext cx="3950208"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Date Placeholder 3"/>
          <p:cNvSpPr>
            <a:spLocks noGrp="1"/>
          </p:cNvSpPr>
          <p:nvPr>
            <p:ph type="dt" sz="half" idx="10"/>
          </p:nvPr>
        </p:nvSpPr>
        <p:spPr>
          <a:xfrm>
            <a:off x="6130503"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1" name="Slide Number Placeholder 5"/>
          <p:cNvSpPr>
            <a:spLocks noGrp="1"/>
          </p:cNvSpPr>
          <p:nvPr>
            <p:ph type="sldNum" sz="quarter" idx="11"/>
          </p:nvPr>
        </p:nvSpPr>
        <p:spPr>
          <a:xfrm>
            <a:off x="466344"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2" name="Footer Placeholder 4"/>
          <p:cNvSpPr>
            <a:spLocks noGrp="1"/>
          </p:cNvSpPr>
          <p:nvPr>
            <p:ph type="ftr" sz="quarter" idx="12"/>
          </p:nvPr>
        </p:nvSpPr>
        <p:spPr>
          <a:xfrm>
            <a:off x="991597"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13" name="TextBox 12" descr="CONFIDENTIAL_TAG_0xFFEE">
            <a:extLst>
              <a:ext uri="{FF2B5EF4-FFF2-40B4-BE49-F238E27FC236}">
                <a16:creationId xmlns:a16="http://schemas.microsoft.com/office/drawing/2014/main" id="{03B7912C-488D-4E6C-ABA3-1A52725E7BCB}"/>
              </a:ext>
            </a:extLst>
          </p:cNvPr>
          <p:cNvSpPr txBox="1"/>
          <p:nvPr userDrawn="1"/>
        </p:nvSpPr>
        <p:spPr>
          <a:xfrm>
            <a:off x="3291949" y="6539170"/>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spTree>
    <p:extLst>
      <p:ext uri="{BB962C8B-B14F-4D97-AF65-F5344CB8AC3E}">
        <p14:creationId xmlns:p14="http://schemas.microsoft.com/office/powerpoint/2010/main" val="4261962239"/>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mparison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50208"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hasCustomPrompt="1"/>
          </p:nvPr>
        </p:nvSpPr>
        <p:spPr>
          <a:xfrm>
            <a:off x="466344" y="1901952"/>
            <a:ext cx="3950208"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5" name="Text Placeholder 4"/>
          <p:cNvSpPr>
            <a:spLocks noGrp="1"/>
          </p:cNvSpPr>
          <p:nvPr>
            <p:ph type="body" sz="quarter" idx="3" hasCustomPrompt="1"/>
          </p:nvPr>
        </p:nvSpPr>
        <p:spPr>
          <a:xfrm>
            <a:off x="4727448" y="1481328"/>
            <a:ext cx="3950208"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hasCustomPrompt="1"/>
          </p:nvPr>
        </p:nvSpPr>
        <p:spPr>
          <a:xfrm>
            <a:off x="4727448" y="1901952"/>
            <a:ext cx="3950208"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13" name="Chart Placeholder 12"/>
          <p:cNvSpPr>
            <a:spLocks noGrp="1"/>
          </p:cNvSpPr>
          <p:nvPr>
            <p:ph type="chart" sz="quarter" idx="13"/>
          </p:nvPr>
        </p:nvSpPr>
        <p:spPr>
          <a:xfrm>
            <a:off x="466344" y="2377440"/>
            <a:ext cx="3950208" cy="3703320"/>
          </a:xfrm>
        </p:spPr>
        <p:txBody>
          <a:bodyPr anchor="t" anchorCtr="0"/>
          <a:lstStyle>
            <a:lvl1pPr marL="0" indent="0">
              <a:buNone/>
              <a:defRPr sz="1800">
                <a:solidFill>
                  <a:schemeClr val="tx1"/>
                </a:solidFill>
              </a:defRPr>
            </a:lvl1pPr>
          </a:lstStyle>
          <a:p>
            <a:r>
              <a:rPr lang="en-US" dirty="0"/>
              <a:t>Click icon to add chart</a:t>
            </a:r>
          </a:p>
        </p:txBody>
      </p:sp>
      <p:sp>
        <p:nvSpPr>
          <p:cNvPr id="15" name="Chart Placeholder 14"/>
          <p:cNvSpPr>
            <a:spLocks noGrp="1"/>
          </p:cNvSpPr>
          <p:nvPr>
            <p:ph type="chart" sz="quarter" idx="14"/>
          </p:nvPr>
        </p:nvSpPr>
        <p:spPr>
          <a:xfrm>
            <a:off x="4727448" y="2377440"/>
            <a:ext cx="3950208" cy="3703320"/>
          </a:xfrm>
        </p:spPr>
        <p:txBody>
          <a:bodyPr anchor="t" anchorCtr="0"/>
          <a:lstStyle>
            <a:lvl1pPr marL="0" indent="0">
              <a:buNone/>
              <a:defRPr sz="1800">
                <a:solidFill>
                  <a:schemeClr val="tx1"/>
                </a:solidFill>
              </a:defRPr>
            </a:lvl1pPr>
          </a:lstStyle>
          <a:p>
            <a:r>
              <a:rPr lang="en-US" dirty="0"/>
              <a:t>Click icon to add chart</a:t>
            </a:r>
          </a:p>
        </p:txBody>
      </p:sp>
      <p:sp>
        <p:nvSpPr>
          <p:cNvPr id="12" name="Date Placeholder 3"/>
          <p:cNvSpPr>
            <a:spLocks noGrp="1"/>
          </p:cNvSpPr>
          <p:nvPr>
            <p:ph type="dt" sz="half" idx="15"/>
          </p:nvPr>
        </p:nvSpPr>
        <p:spPr>
          <a:xfrm>
            <a:off x="6130503"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4" name="Slide Number Placeholder 5"/>
          <p:cNvSpPr>
            <a:spLocks noGrp="1"/>
          </p:cNvSpPr>
          <p:nvPr>
            <p:ph type="sldNum" sz="quarter" idx="16"/>
          </p:nvPr>
        </p:nvSpPr>
        <p:spPr>
          <a:xfrm>
            <a:off x="466344"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6" name="Footer Placeholder 4"/>
          <p:cNvSpPr>
            <a:spLocks noGrp="1"/>
          </p:cNvSpPr>
          <p:nvPr>
            <p:ph type="ftr" sz="quarter" idx="17"/>
          </p:nvPr>
        </p:nvSpPr>
        <p:spPr>
          <a:xfrm>
            <a:off x="991597"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17" name="TextBox 16" descr="CONFIDENTIAL_TAG_0xFFEE">
            <a:extLst>
              <a:ext uri="{FF2B5EF4-FFF2-40B4-BE49-F238E27FC236}">
                <a16:creationId xmlns:a16="http://schemas.microsoft.com/office/drawing/2014/main" id="{1DD5A7F1-DFF9-44C9-8CCA-8B18E822C513}"/>
              </a:ext>
            </a:extLst>
          </p:cNvPr>
          <p:cNvSpPr txBox="1"/>
          <p:nvPr userDrawn="1"/>
        </p:nvSpPr>
        <p:spPr>
          <a:xfrm>
            <a:off x="3291949" y="6539170"/>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spTree>
    <p:extLst>
      <p:ext uri="{BB962C8B-B14F-4D97-AF65-F5344CB8AC3E}">
        <p14:creationId xmlns:p14="http://schemas.microsoft.com/office/powerpoint/2010/main" val="2676524078"/>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6" name="Date Placeholder 3"/>
          <p:cNvSpPr>
            <a:spLocks noGrp="1"/>
          </p:cNvSpPr>
          <p:nvPr>
            <p:ph type="dt" sz="half" idx="2"/>
          </p:nvPr>
        </p:nvSpPr>
        <p:spPr>
          <a:xfrm>
            <a:off x="6130503"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7" name="Slide Number Placeholder 5"/>
          <p:cNvSpPr>
            <a:spLocks noGrp="1"/>
          </p:cNvSpPr>
          <p:nvPr>
            <p:ph type="sldNum" sz="quarter" idx="4"/>
          </p:nvPr>
        </p:nvSpPr>
        <p:spPr>
          <a:xfrm>
            <a:off x="466344"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8" name="Footer Placeholder 4"/>
          <p:cNvSpPr>
            <a:spLocks noGrp="1"/>
          </p:cNvSpPr>
          <p:nvPr>
            <p:ph type="ftr" sz="quarter" idx="3"/>
          </p:nvPr>
        </p:nvSpPr>
        <p:spPr>
          <a:xfrm>
            <a:off x="991597"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9" name="TextBox 8" descr="CONFIDENTIAL_TAG_0xFFEE">
            <a:extLst>
              <a:ext uri="{FF2B5EF4-FFF2-40B4-BE49-F238E27FC236}">
                <a16:creationId xmlns:a16="http://schemas.microsoft.com/office/drawing/2014/main" id="{A9ACED41-13CA-4365-98B6-7887E86C8FA0}"/>
              </a:ext>
            </a:extLst>
          </p:cNvPr>
          <p:cNvSpPr txBox="1"/>
          <p:nvPr userDrawn="1"/>
        </p:nvSpPr>
        <p:spPr>
          <a:xfrm>
            <a:off x="3291949" y="6539170"/>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spTree>
    <p:extLst>
      <p:ext uri="{BB962C8B-B14F-4D97-AF65-F5344CB8AC3E}">
        <p14:creationId xmlns:p14="http://schemas.microsoft.com/office/powerpoint/2010/main" val="2048941106"/>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6130503"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6" name="Slide Number Placeholder 5"/>
          <p:cNvSpPr>
            <a:spLocks noGrp="1"/>
          </p:cNvSpPr>
          <p:nvPr>
            <p:ph type="sldNum" sz="quarter" idx="4"/>
          </p:nvPr>
        </p:nvSpPr>
        <p:spPr>
          <a:xfrm>
            <a:off x="466344"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7" name="Footer Placeholder 4"/>
          <p:cNvSpPr>
            <a:spLocks noGrp="1"/>
          </p:cNvSpPr>
          <p:nvPr>
            <p:ph type="ftr" sz="quarter" idx="3"/>
          </p:nvPr>
        </p:nvSpPr>
        <p:spPr>
          <a:xfrm>
            <a:off x="991597"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Tree>
    <p:extLst>
      <p:ext uri="{BB962C8B-B14F-4D97-AF65-F5344CB8AC3E}">
        <p14:creationId xmlns:p14="http://schemas.microsoft.com/office/powerpoint/2010/main" val="1334372254"/>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Closing Slide with Image">
    <p:spTree>
      <p:nvGrpSpPr>
        <p:cNvPr id="1" name=""/>
        <p:cNvGrpSpPr/>
        <p:nvPr/>
      </p:nvGrpSpPr>
      <p:grpSpPr>
        <a:xfrm>
          <a:off x="0" y="0"/>
          <a:ext cx="0" cy="0"/>
          <a:chOff x="0" y="0"/>
          <a:chExt cx="0" cy="0"/>
        </a:xfrm>
      </p:grpSpPr>
      <p:sp>
        <p:nvSpPr>
          <p:cNvPr id="27" name="Rectangle 26"/>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30D6E1A6-289A-4980-96F9-EDEE92E5F7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144000" cy="5905374"/>
          </a:xfrm>
          <a:prstGeom prst="rect">
            <a:avLst/>
          </a:prstGeom>
        </p:spPr>
      </p:pic>
      <p:sp>
        <p:nvSpPr>
          <p:cNvPr id="10" name="Rectangle 9">
            <a:extLst>
              <a:ext uri="{FF2B5EF4-FFF2-40B4-BE49-F238E27FC236}">
                <a16:creationId xmlns:a16="http://schemas.microsoft.com/office/drawing/2014/main" id="{BC7AAD5A-5DB7-4AFB-8302-F3EBAF31F90C}"/>
              </a:ext>
            </a:extLst>
          </p:cNvPr>
          <p:cNvSpPr/>
          <p:nvPr userDrawn="1"/>
        </p:nvSpPr>
        <p:spPr bwMode="white">
          <a:xfrm>
            <a:off x="-1" y="3429000"/>
            <a:ext cx="9144001"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10">
            <a:extLst>
              <a:ext uri="{FF2B5EF4-FFF2-40B4-BE49-F238E27FC236}">
                <a16:creationId xmlns:a16="http://schemas.microsoft.com/office/drawing/2014/main" id="{216C7464-DCDF-4A68-BEEC-1A51C0EF5294}"/>
              </a:ext>
            </a:extLst>
          </p:cNvPr>
          <p:cNvSpPr/>
          <p:nvPr userDrawn="1"/>
        </p:nvSpPr>
        <p:spPr bwMode="gray">
          <a:xfrm>
            <a:off x="1" y="3246120"/>
            <a:ext cx="9144000"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pic>
        <p:nvPicPr>
          <p:cNvPr id="12" name="Picture 11">
            <a:extLst>
              <a:ext uri="{FF2B5EF4-FFF2-40B4-BE49-F238E27FC236}">
                <a16:creationId xmlns:a16="http://schemas.microsoft.com/office/drawing/2014/main" id="{D4BC90C9-8FEF-495A-A7C5-222769AD685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931851" y="3996133"/>
            <a:ext cx="5291222" cy="1928576"/>
          </a:xfrm>
          <a:prstGeom prst="rect">
            <a:avLst/>
          </a:prstGeom>
        </p:spPr>
      </p:pic>
      <p:sp>
        <p:nvSpPr>
          <p:cNvPr id="33" name="TextBox 32"/>
          <p:cNvSpPr txBox="1"/>
          <p:nvPr userDrawn="1"/>
        </p:nvSpPr>
        <p:spPr>
          <a:xfrm>
            <a:off x="1159271" y="6225331"/>
            <a:ext cx="6825459" cy="332399"/>
          </a:xfrm>
          <a:prstGeom prst="rect">
            <a:avLst/>
          </a:prstGeom>
          <a:noFill/>
        </p:spPr>
        <p:txBody>
          <a:bodyPr wrap="none" rtlCol="0">
            <a:spAutoFit/>
          </a:bodyPr>
          <a:lstStyle/>
          <a:p>
            <a:pPr algn="ctr"/>
            <a:r>
              <a:rPr lang="en-US" sz="1560" b="1" dirty="0">
                <a:solidFill>
                  <a:schemeClr val="tx2"/>
                </a:solidFill>
              </a:rPr>
              <a:t>720.746.4844  |  neonscience@battelleecology.org</a:t>
            </a:r>
            <a:r>
              <a:rPr lang="en-US" sz="1560" b="1" baseline="0" dirty="0">
                <a:solidFill>
                  <a:schemeClr val="tx2"/>
                </a:solidFill>
              </a:rPr>
              <a:t>   |  neonscience.org</a:t>
            </a:r>
            <a:endParaRPr lang="en-US" sz="1560" b="1" dirty="0">
              <a:solidFill>
                <a:schemeClr val="tx2"/>
              </a:solidFill>
            </a:endParaRPr>
          </a:p>
        </p:txBody>
      </p:sp>
    </p:spTree>
    <p:extLst>
      <p:ext uri="{BB962C8B-B14F-4D97-AF65-F5344CB8AC3E}">
        <p14:creationId xmlns:p14="http://schemas.microsoft.com/office/powerpoint/2010/main" val="623773083"/>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Slide without Image and with Thank You">
    <p:spTree>
      <p:nvGrpSpPr>
        <p:cNvPr id="1" name=""/>
        <p:cNvGrpSpPr/>
        <p:nvPr/>
      </p:nvGrpSpPr>
      <p:grpSpPr>
        <a:xfrm>
          <a:off x="0" y="0"/>
          <a:ext cx="0" cy="0"/>
          <a:chOff x="0" y="0"/>
          <a:chExt cx="0" cy="0"/>
        </a:xfrm>
      </p:grpSpPr>
      <p:sp>
        <p:nvSpPr>
          <p:cNvPr id="26" name="Rectangle 25"/>
          <p:cNvSpPr/>
          <p:nvPr userDrawn="1"/>
        </p:nvSpPr>
        <p:spPr bwMode="gray">
          <a:xfrm>
            <a:off x="0" y="0"/>
            <a:ext cx="9144000" cy="5382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white">
          <a:xfrm flipV="1">
            <a:off x="0" y="5963439"/>
            <a:ext cx="9144000" cy="7929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userDrawn="1"/>
        </p:nvSpPr>
        <p:spPr bwMode="gray">
          <a:xfrm>
            <a:off x="0" y="5243656"/>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userDrawn="1"/>
        </p:nvSpPr>
        <p:spPr bwMode="gray">
          <a:xfrm>
            <a:off x="0" y="5538524"/>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1" name="TextBox 30"/>
          <p:cNvSpPr txBox="1"/>
          <p:nvPr userDrawn="1"/>
        </p:nvSpPr>
        <p:spPr>
          <a:xfrm>
            <a:off x="1159271" y="6225331"/>
            <a:ext cx="6825459" cy="332399"/>
          </a:xfrm>
          <a:prstGeom prst="rect">
            <a:avLst/>
          </a:prstGeom>
          <a:noFill/>
        </p:spPr>
        <p:txBody>
          <a:bodyPr wrap="none" rtlCol="0">
            <a:spAutoFit/>
          </a:bodyPr>
          <a:lstStyle/>
          <a:p>
            <a:pPr algn="ctr"/>
            <a:r>
              <a:rPr lang="en-US" sz="1560" b="1" dirty="0">
                <a:solidFill>
                  <a:schemeClr val="tx2"/>
                </a:solidFill>
              </a:rPr>
              <a:t>720.746.4844  |  neonscience@battelleecology.org</a:t>
            </a:r>
            <a:r>
              <a:rPr lang="en-US" sz="1560" b="1" baseline="0" dirty="0">
                <a:solidFill>
                  <a:schemeClr val="tx2"/>
                </a:solidFill>
              </a:rPr>
              <a:t>   |  neonscience.org</a:t>
            </a:r>
            <a:endParaRPr lang="en-US" sz="1560" b="1" dirty="0">
              <a:solidFill>
                <a:schemeClr val="tx2"/>
              </a:solidFill>
            </a:endParaRPr>
          </a:p>
        </p:txBody>
      </p:sp>
      <p:pic>
        <p:nvPicPr>
          <p:cNvPr id="3" name="Picture 2">
            <a:extLst>
              <a:ext uri="{FF2B5EF4-FFF2-40B4-BE49-F238E27FC236}">
                <a16:creationId xmlns:a16="http://schemas.microsoft.com/office/drawing/2014/main" id="{57AE2B09-0669-485C-A319-2203CB3C716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004733" y="1693333"/>
            <a:ext cx="3020220" cy="1737360"/>
          </a:xfrm>
          <a:prstGeom prst="rect">
            <a:avLst/>
          </a:prstGeom>
        </p:spPr>
      </p:pic>
      <p:pic>
        <p:nvPicPr>
          <p:cNvPr id="5" name="Picture 4" descr="A close up of a sign&#10;&#10;Description generated with very high confidence">
            <a:extLst>
              <a:ext uri="{FF2B5EF4-FFF2-40B4-BE49-F238E27FC236}">
                <a16:creationId xmlns:a16="http://schemas.microsoft.com/office/drawing/2014/main" id="{33E3B780-F730-4D7E-A05B-F9992D817D6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054794" y="1654721"/>
            <a:ext cx="1916073" cy="1828800"/>
          </a:xfrm>
          <a:prstGeom prst="rect">
            <a:avLst/>
          </a:prstGeom>
        </p:spPr>
      </p:pic>
    </p:spTree>
    <p:extLst>
      <p:ext uri="{BB962C8B-B14F-4D97-AF65-F5344CB8AC3E}">
        <p14:creationId xmlns:p14="http://schemas.microsoft.com/office/powerpoint/2010/main" val="2241727557"/>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31"/>
        <p:cNvGrpSpPr/>
        <p:nvPr/>
      </p:nvGrpSpPr>
      <p:grpSpPr>
        <a:xfrm>
          <a:off x="0" y="0"/>
          <a:ext cx="0" cy="0"/>
          <a:chOff x="0" y="0"/>
          <a:chExt cx="0" cy="0"/>
        </a:xfrm>
      </p:grpSpPr>
      <p:sp>
        <p:nvSpPr>
          <p:cNvPr id="32" name="Google Shape;32;p6"/>
          <p:cNvSpPr txBox="1">
            <a:spLocks noGrp="1"/>
          </p:cNvSpPr>
          <p:nvPr>
            <p:ph type="title"/>
          </p:nvPr>
        </p:nvSpPr>
        <p:spPr>
          <a:xfrm>
            <a:off x="387900" y="610700"/>
            <a:ext cx="8368200" cy="914800"/>
          </a:xfrm>
          <a:prstGeom prst="rect">
            <a:avLst/>
          </a:prstGeom>
        </p:spPr>
        <p:txBody>
          <a:bodyPr spcFirstLastPara="1" wrap="square" lIns="91425" tIns="91425" rIns="91425" bIns="91425" anchor="b" anchorCtr="0">
            <a:noAutofit/>
          </a:bodyPr>
          <a:lstStyle>
            <a:lvl1pPr lvl="0">
              <a:spcBef>
                <a:spcPts val="0"/>
              </a:spcBef>
              <a:spcAft>
                <a:spcPts val="0"/>
              </a:spcAft>
              <a:buSzPts val="3000"/>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endParaRPr/>
          </a:p>
        </p:txBody>
      </p:sp>
      <p:sp>
        <p:nvSpPr>
          <p:cNvPr id="33" name="Google Shape;33;p6"/>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5678501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34"/>
        <p:cNvGrpSpPr/>
        <p:nvPr/>
      </p:nvGrpSpPr>
      <p:grpSpPr>
        <a:xfrm>
          <a:off x="0" y="0"/>
          <a:ext cx="0" cy="0"/>
          <a:chOff x="0" y="0"/>
          <a:chExt cx="0" cy="0"/>
        </a:xfrm>
      </p:grpSpPr>
      <p:cxnSp>
        <p:nvCxnSpPr>
          <p:cNvPr id="35" name="Google Shape;35;p7"/>
          <p:cNvCxnSpPr/>
          <p:nvPr/>
        </p:nvCxnSpPr>
        <p:spPr>
          <a:xfrm>
            <a:off x="489218" y="1883036"/>
            <a:ext cx="331500" cy="0"/>
          </a:xfrm>
          <a:prstGeom prst="straightConnector1">
            <a:avLst/>
          </a:prstGeom>
          <a:noFill/>
          <a:ln w="38100" cap="flat" cmpd="sng">
            <a:solidFill>
              <a:schemeClr val="accent4"/>
            </a:solidFill>
            <a:prstDash val="solid"/>
            <a:round/>
            <a:headEnd type="none" w="sm" len="sm"/>
            <a:tailEnd type="none" w="sm" len="sm"/>
          </a:ln>
        </p:spPr>
      </p:cxnSp>
      <p:sp>
        <p:nvSpPr>
          <p:cNvPr id="36" name="Google Shape;36;p7"/>
          <p:cNvSpPr txBox="1">
            <a:spLocks noGrp="1"/>
          </p:cNvSpPr>
          <p:nvPr>
            <p:ph type="title"/>
          </p:nvPr>
        </p:nvSpPr>
        <p:spPr>
          <a:xfrm>
            <a:off x="387900" y="740800"/>
            <a:ext cx="2808000" cy="10076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7" name="Google Shape;37;p7"/>
          <p:cNvSpPr txBox="1">
            <a:spLocks noGrp="1"/>
          </p:cNvSpPr>
          <p:nvPr>
            <p:ph type="body" idx="1"/>
          </p:nvPr>
        </p:nvSpPr>
        <p:spPr>
          <a:xfrm>
            <a:off x="387900" y="2125367"/>
            <a:ext cx="2808000" cy="3574800"/>
          </a:xfrm>
          <a:prstGeom prst="rect">
            <a:avLst/>
          </a:prstGeom>
        </p:spPr>
        <p:txBody>
          <a:bodyPr spcFirstLastPara="1" wrap="square" lIns="91425" tIns="91425" rIns="91425" bIns="91425" anchor="t" anchorCtr="0">
            <a:noAutofit/>
          </a:bodyPr>
          <a:lstStyle>
            <a:lvl1pPr marL="457200" lvl="0" indent="-304800">
              <a:spcBef>
                <a:spcPts val="0"/>
              </a:spcBef>
              <a:spcAft>
                <a:spcPts val="0"/>
              </a:spcAft>
              <a:buSzPts val="1200"/>
              <a:buChar char="●"/>
              <a:defRPr sz="12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38" name="Google Shape;38;p7"/>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31084840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9"/>
        <p:cNvGrpSpPr/>
        <p:nvPr/>
      </p:nvGrpSpPr>
      <p:grpSpPr>
        <a:xfrm>
          <a:off x="0" y="0"/>
          <a:ext cx="0" cy="0"/>
          <a:chOff x="0" y="0"/>
          <a:chExt cx="0" cy="0"/>
        </a:xfrm>
      </p:grpSpPr>
      <p:sp>
        <p:nvSpPr>
          <p:cNvPr id="50" name="Google Shape;50;p10"/>
          <p:cNvSpPr txBox="1">
            <a:spLocks noGrp="1"/>
          </p:cNvSpPr>
          <p:nvPr>
            <p:ph type="body" idx="1"/>
          </p:nvPr>
        </p:nvSpPr>
        <p:spPr>
          <a:xfrm>
            <a:off x="319500" y="5644967"/>
            <a:ext cx="5998800" cy="798400"/>
          </a:xfrm>
          <a:prstGeom prst="rect">
            <a:avLst/>
          </a:prstGeom>
        </p:spPr>
        <p:txBody>
          <a:bodyPr spcFirstLastPara="1" wrap="square" lIns="91425" tIns="91425" rIns="91425" bIns="91425" anchor="ctr" anchorCtr="0">
            <a:noAutofit/>
          </a:bodyPr>
          <a:lstStyle>
            <a:lvl1pPr marL="457200" lvl="0" indent="-228600">
              <a:lnSpc>
                <a:spcPct val="100000"/>
              </a:lnSpc>
              <a:spcBef>
                <a:spcPts val="0"/>
              </a:spcBef>
              <a:spcAft>
                <a:spcPts val="0"/>
              </a:spcAft>
              <a:buSzPts val="1800"/>
              <a:buFont typeface="Roboto Slab"/>
              <a:buNone/>
              <a:defRPr>
                <a:latin typeface="Roboto Slab"/>
                <a:ea typeface="Roboto Slab"/>
                <a:cs typeface="Roboto Slab"/>
                <a:sym typeface="Roboto Slab"/>
              </a:defRPr>
            </a:lvl1pPr>
          </a:lstStyle>
          <a:p>
            <a:endParaRPr/>
          </a:p>
        </p:txBody>
      </p:sp>
      <p:sp>
        <p:nvSpPr>
          <p:cNvPr id="51" name="Google Shape;51;p10"/>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38012045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5"/>
        <p:cNvGrpSpPr/>
        <p:nvPr/>
      </p:nvGrpSpPr>
      <p:grpSpPr>
        <a:xfrm>
          <a:off x="0" y="0"/>
          <a:ext cx="0" cy="0"/>
          <a:chOff x="0" y="0"/>
          <a:chExt cx="0" cy="0"/>
        </a:xfrm>
      </p:grpSpPr>
      <p:cxnSp>
        <p:nvCxnSpPr>
          <p:cNvPr id="26" name="Google Shape;26;p5"/>
          <p:cNvCxnSpPr/>
          <p:nvPr/>
        </p:nvCxnSpPr>
        <p:spPr>
          <a:xfrm>
            <a:off x="492563" y="1680379"/>
            <a:ext cx="424800" cy="0"/>
          </a:xfrm>
          <a:prstGeom prst="straightConnector1">
            <a:avLst/>
          </a:prstGeom>
          <a:noFill/>
          <a:ln w="38100" cap="flat" cmpd="sng">
            <a:solidFill>
              <a:schemeClr val="accent4"/>
            </a:solidFill>
            <a:prstDash val="solid"/>
            <a:round/>
            <a:headEnd type="none" w="sm" len="sm"/>
            <a:tailEnd type="none" w="sm" len="sm"/>
          </a:ln>
        </p:spPr>
      </p:cxnSp>
      <p:sp>
        <p:nvSpPr>
          <p:cNvPr id="27" name="Google Shape;27;p5"/>
          <p:cNvSpPr txBox="1">
            <a:spLocks noGrp="1"/>
          </p:cNvSpPr>
          <p:nvPr>
            <p:ph type="title"/>
          </p:nvPr>
        </p:nvSpPr>
        <p:spPr>
          <a:xfrm>
            <a:off x="387900" y="610700"/>
            <a:ext cx="8368200" cy="914800"/>
          </a:xfrm>
          <a:prstGeom prst="rect">
            <a:avLst/>
          </a:prstGeom>
        </p:spPr>
        <p:txBody>
          <a:bodyPr spcFirstLastPara="1" wrap="square" lIns="91425" tIns="91425" rIns="91425" bIns="91425" anchor="b" anchorCtr="0">
            <a:noAutofit/>
          </a:bodyPr>
          <a:lstStyle>
            <a:lvl1pPr lvl="0">
              <a:spcBef>
                <a:spcPts val="0"/>
              </a:spcBef>
              <a:spcAft>
                <a:spcPts val="0"/>
              </a:spcAft>
              <a:buSzPts val="3000"/>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endParaRPr/>
          </a:p>
        </p:txBody>
      </p:sp>
      <p:sp>
        <p:nvSpPr>
          <p:cNvPr id="28" name="Google Shape;28;p5"/>
          <p:cNvSpPr txBox="1">
            <a:spLocks noGrp="1"/>
          </p:cNvSpPr>
          <p:nvPr>
            <p:ph type="body" idx="1"/>
          </p:nvPr>
        </p:nvSpPr>
        <p:spPr>
          <a:xfrm>
            <a:off x="387900" y="1986433"/>
            <a:ext cx="3999900" cy="41052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9" name="Google Shape;29;p5"/>
          <p:cNvSpPr txBox="1">
            <a:spLocks noGrp="1"/>
          </p:cNvSpPr>
          <p:nvPr>
            <p:ph type="body" idx="2"/>
          </p:nvPr>
        </p:nvSpPr>
        <p:spPr>
          <a:xfrm>
            <a:off x="4756200" y="1986433"/>
            <a:ext cx="3999900" cy="41052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30" name="Google Shape;30;p5"/>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39116766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Slide INTERNAL">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36D9C1B-AF9E-4693-BF10-277D6A6C93EC}"/>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0"/>
            <a:ext cx="9144000" cy="6371772"/>
          </a:xfrm>
          <a:prstGeom prst="rect">
            <a:avLst/>
          </a:prstGeom>
        </p:spPr>
      </p:pic>
      <p:sp>
        <p:nvSpPr>
          <p:cNvPr id="15" name="Rectangle 14"/>
          <p:cNvSpPr/>
          <p:nvPr userDrawn="1"/>
        </p:nvSpPr>
        <p:spPr bwMode="gray">
          <a:xfrm>
            <a:off x="1" y="2"/>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690437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0" name="Rectangle 19"/>
          <p:cNvSpPr/>
          <p:nvPr/>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bwMode="gray">
          <a:xfrm>
            <a:off x="466344" y="5138928"/>
            <a:ext cx="8211312" cy="621243"/>
          </a:xfrm>
        </p:spPr>
        <p:txBody>
          <a:bodyPr vert="horz" lIns="0" tIns="0" rIns="0" bIns="0" rtlCol="0">
            <a:noAutofit/>
          </a:bodyPr>
          <a:lstStyle>
            <a:lvl1pPr marL="342900" indent="-342900">
              <a:buFont typeface="Arial" pitchFamily="34" charset="0"/>
              <a:buNone/>
              <a:defRPr lang="en-US" sz="2100" dirty="0">
                <a:solidFill>
                  <a:schemeClr val="bg1"/>
                </a:solidFill>
              </a:defRPr>
            </a:lvl1pPr>
          </a:lstStyle>
          <a:p>
            <a:pPr marL="0" lvl="0" indent="0"/>
            <a:r>
              <a:rPr lang="en-US" dirty="0"/>
              <a:t>Click to edit master subtitle style</a:t>
            </a:r>
          </a:p>
        </p:txBody>
      </p:sp>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9" name="Slide Number Placeholder 5"/>
          <p:cNvSpPr>
            <a:spLocks noGrp="1"/>
          </p:cNvSpPr>
          <p:nvPr>
            <p:ph type="sldNum" sz="quarter" idx="4"/>
          </p:nvPr>
        </p:nvSpPr>
        <p:spPr>
          <a:xfrm>
            <a:off x="466344"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2" name="TextBox 11" descr="CONFIDENTIAL_TAG_0xFFEE">
            <a:extLst>
              <a:ext uri="{FF2B5EF4-FFF2-40B4-BE49-F238E27FC236}">
                <a16:creationId xmlns:a16="http://schemas.microsoft.com/office/drawing/2014/main" id="{DDDFCC63-7F7E-4941-8A8C-42A20F027FF9}"/>
              </a:ext>
            </a:extLst>
          </p:cNvPr>
          <p:cNvSpPr txBox="1"/>
          <p:nvPr userDrawn="1"/>
        </p:nvSpPr>
        <p:spPr>
          <a:xfrm>
            <a:off x="3291949" y="6539170"/>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pic>
        <p:nvPicPr>
          <p:cNvPr id="16" name="Picture 15">
            <a:extLst>
              <a:ext uri="{FF2B5EF4-FFF2-40B4-BE49-F238E27FC236}">
                <a16:creationId xmlns:a16="http://schemas.microsoft.com/office/drawing/2014/main" id="{D7516D27-9253-47A2-BC58-9DCFA4524B71}"/>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6169848" y="414338"/>
            <a:ext cx="2505831" cy="914400"/>
          </a:xfrm>
          <a:prstGeom prst="rect">
            <a:avLst/>
          </a:prstGeom>
        </p:spPr>
      </p:pic>
      <p:sp>
        <p:nvSpPr>
          <p:cNvPr id="5" name="Rectangle 4">
            <a:extLst>
              <a:ext uri="{FF2B5EF4-FFF2-40B4-BE49-F238E27FC236}">
                <a16:creationId xmlns:a16="http://schemas.microsoft.com/office/drawing/2014/main" id="{175230DA-EBB3-3A47-A4B7-C2E1331C57F2}"/>
              </a:ext>
            </a:extLst>
          </p:cNvPr>
          <p:cNvSpPr/>
          <p:nvPr userDrawn="1"/>
        </p:nvSpPr>
        <p:spPr bwMode="auto">
          <a:xfrm>
            <a:off x="7616142" y="6452653"/>
            <a:ext cx="1527858"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139693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2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20"/>
        <p:cNvGrpSpPr/>
        <p:nvPr/>
      </p:nvGrpSpPr>
      <p:grpSpPr>
        <a:xfrm>
          <a:off x="0" y="0"/>
          <a:ext cx="0" cy="0"/>
          <a:chOff x="0" y="0"/>
          <a:chExt cx="0" cy="0"/>
        </a:xfrm>
      </p:grpSpPr>
      <p:cxnSp>
        <p:nvCxnSpPr>
          <p:cNvPr id="21" name="Google Shape;21;p4"/>
          <p:cNvCxnSpPr/>
          <p:nvPr/>
        </p:nvCxnSpPr>
        <p:spPr>
          <a:xfrm>
            <a:off x="492563" y="1680379"/>
            <a:ext cx="424800" cy="0"/>
          </a:xfrm>
          <a:prstGeom prst="straightConnector1">
            <a:avLst/>
          </a:prstGeom>
          <a:noFill/>
          <a:ln w="38100" cap="flat" cmpd="sng">
            <a:solidFill>
              <a:schemeClr val="accent4"/>
            </a:solidFill>
            <a:prstDash val="solid"/>
            <a:round/>
            <a:headEnd type="none" w="sm" len="sm"/>
            <a:tailEnd type="none" w="sm" len="sm"/>
          </a:ln>
        </p:spPr>
      </p:cxnSp>
      <p:sp>
        <p:nvSpPr>
          <p:cNvPr id="22" name="Google Shape;22;p4"/>
          <p:cNvSpPr txBox="1">
            <a:spLocks noGrp="1"/>
          </p:cNvSpPr>
          <p:nvPr>
            <p:ph type="title"/>
          </p:nvPr>
        </p:nvSpPr>
        <p:spPr>
          <a:xfrm>
            <a:off x="387900" y="610700"/>
            <a:ext cx="8368200" cy="914800"/>
          </a:xfrm>
          <a:prstGeom prst="rect">
            <a:avLst/>
          </a:prstGeom>
        </p:spPr>
        <p:txBody>
          <a:bodyPr spcFirstLastPara="1" wrap="square" lIns="91425" tIns="91425" rIns="91425" bIns="91425" anchor="b" anchorCtr="0">
            <a:noAutofit/>
          </a:bodyPr>
          <a:lstStyle>
            <a:lvl1pPr lvl="0">
              <a:spcBef>
                <a:spcPts val="0"/>
              </a:spcBef>
              <a:spcAft>
                <a:spcPts val="0"/>
              </a:spcAft>
              <a:buSzPts val="3000"/>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endParaRPr/>
          </a:p>
        </p:txBody>
      </p:sp>
      <p:sp>
        <p:nvSpPr>
          <p:cNvPr id="23" name="Google Shape;23;p4"/>
          <p:cNvSpPr txBox="1">
            <a:spLocks noGrp="1"/>
          </p:cNvSpPr>
          <p:nvPr>
            <p:ph type="body" idx="1"/>
          </p:nvPr>
        </p:nvSpPr>
        <p:spPr>
          <a:xfrm>
            <a:off x="387900" y="1986432"/>
            <a:ext cx="8368200" cy="4105200"/>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24" name="Google Shape;24;p4"/>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40319120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4" name="Rectangle 23"/>
          <p:cNvSpPr/>
          <p:nvPr userDrawn="1"/>
        </p:nvSpPr>
        <p:spPr bwMode="gray">
          <a:xfrm>
            <a:off x="0" y="-1"/>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p:cNvSpPr/>
          <p:nvPr userDrawn="1"/>
        </p:nvSpPr>
        <p:spPr bwMode="gray">
          <a:xfrm>
            <a:off x="0" y="5717788"/>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bwMode="gray">
          <a:xfrm>
            <a:off x="0" y="6012656"/>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bwMode="gray">
          <a:xfrm>
            <a:off x="466344" y="342901"/>
            <a:ext cx="8211312" cy="2343150"/>
          </a:xfrm>
        </p:spPr>
        <p:txBody>
          <a:bodyPr vert="horz" lIns="0" tIns="0" rIns="0" bIns="0" rtlCol="0" anchor="b" anchorCtr="0">
            <a:noAutofit/>
          </a:bodyPr>
          <a:lstStyle>
            <a:lvl1pPr>
              <a:defRPr lang="en-US" sz="4000" b="0" dirty="0">
                <a:solidFill>
                  <a:schemeClr val="bg1"/>
                </a:solidFill>
              </a:defRPr>
            </a:lvl1pPr>
          </a:lstStyle>
          <a:p>
            <a:pPr lvl="0"/>
            <a:r>
              <a:rPr lang="en-US" dirty="0"/>
              <a:t>Click to Insert Title</a:t>
            </a:r>
          </a:p>
        </p:txBody>
      </p:sp>
      <p:sp>
        <p:nvSpPr>
          <p:cNvPr id="3" name="Subtitle 2"/>
          <p:cNvSpPr>
            <a:spLocks noGrp="1"/>
          </p:cNvSpPr>
          <p:nvPr>
            <p:ph type="subTitle" idx="1" hasCustomPrompt="1"/>
          </p:nvPr>
        </p:nvSpPr>
        <p:spPr bwMode="gray">
          <a:xfrm>
            <a:off x="466344" y="2871216"/>
            <a:ext cx="8211312" cy="323165"/>
          </a:xfrm>
        </p:spPr>
        <p:txBody>
          <a:bodyPr vert="horz" wrap="square" lIns="0" tIns="0" rIns="0" bIns="0" rtlCol="0">
            <a:spAutoFit/>
          </a:bodyPr>
          <a:lstStyle>
            <a:lvl1pPr marL="228600" indent="-228600">
              <a:buNone/>
              <a:defRPr lang="en-US" sz="2100" dirty="0">
                <a:solidFill>
                  <a:schemeClr val="bg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bwMode="gray">
          <a:xfrm>
            <a:off x="466344" y="4560889"/>
            <a:ext cx="8211312" cy="1162050"/>
          </a:xfrm>
        </p:spPr>
        <p:txBody>
          <a:bodyPr lIns="0" tIns="0" rIns="0" bIns="0">
            <a:no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6130503"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6" name="Slide Number Placeholder 5"/>
          <p:cNvSpPr>
            <a:spLocks noGrp="1"/>
          </p:cNvSpPr>
          <p:nvPr>
            <p:ph type="sldNum" sz="quarter" idx="4"/>
          </p:nvPr>
        </p:nvSpPr>
        <p:spPr>
          <a:xfrm>
            <a:off x="466344"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7" name="Footer Placeholder 4"/>
          <p:cNvSpPr>
            <a:spLocks noGrp="1"/>
          </p:cNvSpPr>
          <p:nvPr>
            <p:ph type="ftr" sz="quarter" idx="3"/>
          </p:nvPr>
        </p:nvSpPr>
        <p:spPr>
          <a:xfrm>
            <a:off x="991597"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12" name="TextBox 11" descr="CONFIDENTIAL_TAG_0xFFEE">
            <a:extLst>
              <a:ext uri="{FF2B5EF4-FFF2-40B4-BE49-F238E27FC236}">
                <a16:creationId xmlns:a16="http://schemas.microsoft.com/office/drawing/2014/main" id="{D2F3DBB0-10D0-4DB2-8863-03D25099BF1D}"/>
              </a:ext>
            </a:extLst>
          </p:cNvPr>
          <p:cNvSpPr txBox="1"/>
          <p:nvPr userDrawn="1"/>
        </p:nvSpPr>
        <p:spPr>
          <a:xfrm>
            <a:off x="3291949" y="6539170"/>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pic>
        <p:nvPicPr>
          <p:cNvPr id="13" name="Picture 12">
            <a:extLst>
              <a:ext uri="{FF2B5EF4-FFF2-40B4-BE49-F238E27FC236}">
                <a16:creationId xmlns:a16="http://schemas.microsoft.com/office/drawing/2014/main" id="{1BA1FD66-7238-42BB-8324-E05382CDE67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169848" y="414338"/>
            <a:ext cx="2505831" cy="914400"/>
          </a:xfrm>
          <a:prstGeom prst="rect">
            <a:avLst/>
          </a:prstGeom>
        </p:spPr>
      </p:pic>
      <p:sp>
        <p:nvSpPr>
          <p:cNvPr id="14" name="Rectangle 13">
            <a:extLst>
              <a:ext uri="{FF2B5EF4-FFF2-40B4-BE49-F238E27FC236}">
                <a16:creationId xmlns:a16="http://schemas.microsoft.com/office/drawing/2014/main" id="{89AE2C03-7437-1241-94EE-75578D4A9D7F}"/>
              </a:ext>
            </a:extLst>
          </p:cNvPr>
          <p:cNvSpPr/>
          <p:nvPr userDrawn="1"/>
        </p:nvSpPr>
        <p:spPr bwMode="auto">
          <a:xfrm>
            <a:off x="7616142" y="6452653"/>
            <a:ext cx="1527858"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674930785"/>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2" name="Rectangle 21"/>
          <p:cNvSpPr/>
          <p:nvPr userDrawn="1"/>
        </p:nvSpPr>
        <p:spPr bwMode="gray">
          <a:xfrm>
            <a:off x="0" y="5918944"/>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bwMode="gray">
          <a:xfrm>
            <a:off x="0" y="6019799"/>
            <a:ext cx="9144000" cy="242207"/>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userDrawn="1"/>
        </p:nvSpPr>
        <p:spPr bwMode="gray">
          <a:xfrm>
            <a:off x="0" y="6139542"/>
            <a:ext cx="9144000" cy="236645"/>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 name="Title 1"/>
          <p:cNvSpPr>
            <a:spLocks noGrp="1"/>
          </p:cNvSpPr>
          <p:nvPr>
            <p:ph type="ctrTitle" hasCustomPrompt="1"/>
          </p:nvPr>
        </p:nvSpPr>
        <p:spPr>
          <a:xfrm>
            <a:off x="466344" y="342901"/>
            <a:ext cx="8211312" cy="2343150"/>
          </a:xfrm>
        </p:spPr>
        <p:txBody>
          <a:bodyPr vert="horz" lIns="0" tIns="0" rIns="0" bIns="0" rtlCol="0" anchor="b" anchorCtr="0">
            <a:noAutofit/>
          </a:bodyPr>
          <a:lstStyle>
            <a:lvl1pPr>
              <a:defRPr lang="en-US" sz="4000" b="0" dirty="0">
                <a:solidFill>
                  <a:schemeClr val="accent1"/>
                </a:solidFill>
              </a:defRPr>
            </a:lvl1pPr>
          </a:lstStyle>
          <a:p>
            <a:pPr lvl="0"/>
            <a:r>
              <a:rPr lang="en-US" dirty="0"/>
              <a:t>Click to Insert Title</a:t>
            </a:r>
          </a:p>
        </p:txBody>
      </p:sp>
      <p:sp>
        <p:nvSpPr>
          <p:cNvPr id="3" name="Subtitle 2"/>
          <p:cNvSpPr>
            <a:spLocks noGrp="1"/>
          </p:cNvSpPr>
          <p:nvPr>
            <p:ph type="subTitle" idx="1" hasCustomPrompt="1"/>
          </p:nvPr>
        </p:nvSpPr>
        <p:spPr>
          <a:xfrm>
            <a:off x="466344" y="2871216"/>
            <a:ext cx="8211312" cy="320040"/>
          </a:xfrm>
        </p:spPr>
        <p:txBody>
          <a:bodyPr vert="horz" wrap="square" lIns="0" tIns="0" rIns="0" bIns="0" rtlCol="0">
            <a:spAutoFit/>
          </a:bodyPr>
          <a:lstStyle>
            <a:lvl1pPr marL="228600" indent="-228600">
              <a:buNone/>
              <a:defRPr lang="en-US" sz="2100" dirty="0">
                <a:solidFill>
                  <a:schemeClr val="accent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a:xfrm>
            <a:off x="466344" y="4560889"/>
            <a:ext cx="8211312" cy="1162050"/>
          </a:xfrm>
        </p:spPr>
        <p:txBody>
          <a:bodyPr lIns="0" tIns="0" rIns="0" bIns="0">
            <a:noAutofit/>
          </a:bodyPr>
          <a:lstStyle>
            <a:lvl1pPr marL="0" indent="0">
              <a:spcBef>
                <a:spcPts val="0"/>
              </a:spcBef>
              <a:spcAft>
                <a:spcPts val="0"/>
              </a:spcAft>
              <a:buNone/>
              <a:defRPr sz="1300">
                <a:solidFill>
                  <a:schemeClr val="accent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6130503"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6" name="Slide Number Placeholder 5"/>
          <p:cNvSpPr>
            <a:spLocks noGrp="1"/>
          </p:cNvSpPr>
          <p:nvPr>
            <p:ph type="sldNum" sz="quarter" idx="4"/>
          </p:nvPr>
        </p:nvSpPr>
        <p:spPr>
          <a:xfrm>
            <a:off x="466344"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7" name="Footer Placeholder 4"/>
          <p:cNvSpPr>
            <a:spLocks noGrp="1"/>
          </p:cNvSpPr>
          <p:nvPr>
            <p:ph type="ftr" sz="quarter" idx="3"/>
          </p:nvPr>
        </p:nvSpPr>
        <p:spPr>
          <a:xfrm>
            <a:off x="991597"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12" name="TextBox 11" descr="CONFIDENTIAL_TAG_0xFFEE">
            <a:extLst>
              <a:ext uri="{FF2B5EF4-FFF2-40B4-BE49-F238E27FC236}">
                <a16:creationId xmlns:a16="http://schemas.microsoft.com/office/drawing/2014/main" id="{426DE119-4FF0-4529-B968-125DE63ED2E9}"/>
              </a:ext>
            </a:extLst>
          </p:cNvPr>
          <p:cNvSpPr txBox="1"/>
          <p:nvPr userDrawn="1"/>
        </p:nvSpPr>
        <p:spPr>
          <a:xfrm>
            <a:off x="3291949" y="6539170"/>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sp>
        <p:nvSpPr>
          <p:cNvPr id="4" name="Rectangle 3">
            <a:extLst>
              <a:ext uri="{FF2B5EF4-FFF2-40B4-BE49-F238E27FC236}">
                <a16:creationId xmlns:a16="http://schemas.microsoft.com/office/drawing/2014/main" id="{1AB04359-DEFE-48B9-A1EA-59DB158983D2}"/>
              </a:ext>
            </a:extLst>
          </p:cNvPr>
          <p:cNvSpPr/>
          <p:nvPr userDrawn="1"/>
        </p:nvSpPr>
        <p:spPr bwMode="auto">
          <a:xfrm>
            <a:off x="7120467" y="262467"/>
            <a:ext cx="1651000" cy="694266"/>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13" name="Picture 12" descr="A close up of a sign&#10;&#10;Description generated with very high confidence">
            <a:extLst>
              <a:ext uri="{FF2B5EF4-FFF2-40B4-BE49-F238E27FC236}">
                <a16:creationId xmlns:a16="http://schemas.microsoft.com/office/drawing/2014/main" id="{AFFD27F8-18D7-47DB-91BB-8B427C060C7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166946" y="414338"/>
            <a:ext cx="2508739" cy="914400"/>
          </a:xfrm>
          <a:prstGeom prst="rect">
            <a:avLst/>
          </a:prstGeom>
        </p:spPr>
      </p:pic>
      <p:sp>
        <p:nvSpPr>
          <p:cNvPr id="14" name="Rectangle 13">
            <a:extLst>
              <a:ext uri="{FF2B5EF4-FFF2-40B4-BE49-F238E27FC236}">
                <a16:creationId xmlns:a16="http://schemas.microsoft.com/office/drawing/2014/main" id="{142E9D0A-CAC1-2D43-A728-BCD527484F5C}"/>
              </a:ext>
            </a:extLst>
          </p:cNvPr>
          <p:cNvSpPr/>
          <p:nvPr userDrawn="1"/>
        </p:nvSpPr>
        <p:spPr bwMode="auto">
          <a:xfrm>
            <a:off x="7616142" y="6452653"/>
            <a:ext cx="1527858"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851204919"/>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3"/>
          <p:cNvSpPr>
            <a:spLocks noGrp="1"/>
          </p:cNvSpPr>
          <p:nvPr>
            <p:ph type="dt" sz="half" idx="2"/>
          </p:nvPr>
        </p:nvSpPr>
        <p:spPr>
          <a:xfrm>
            <a:off x="6130503"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8" name="Slide Number Placeholder 5"/>
          <p:cNvSpPr>
            <a:spLocks noGrp="1"/>
          </p:cNvSpPr>
          <p:nvPr>
            <p:ph type="sldNum" sz="quarter" idx="4"/>
          </p:nvPr>
        </p:nvSpPr>
        <p:spPr>
          <a:xfrm>
            <a:off x="466344"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9" name="Footer Placeholder 4"/>
          <p:cNvSpPr>
            <a:spLocks noGrp="1"/>
          </p:cNvSpPr>
          <p:nvPr>
            <p:ph type="ftr" sz="quarter" idx="3"/>
          </p:nvPr>
        </p:nvSpPr>
        <p:spPr>
          <a:xfrm>
            <a:off x="991597"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10" name="TextBox 9" descr="CONFIDENTIAL_TAG_0xFFEE">
            <a:extLst>
              <a:ext uri="{FF2B5EF4-FFF2-40B4-BE49-F238E27FC236}">
                <a16:creationId xmlns:a16="http://schemas.microsoft.com/office/drawing/2014/main" id="{09E5C97F-E7D4-495C-A18A-0547BA84ED26}"/>
              </a:ext>
            </a:extLst>
          </p:cNvPr>
          <p:cNvSpPr txBox="1"/>
          <p:nvPr userDrawn="1"/>
        </p:nvSpPr>
        <p:spPr>
          <a:xfrm>
            <a:off x="3291949" y="6539170"/>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spTree>
    <p:extLst>
      <p:ext uri="{BB962C8B-B14F-4D97-AF65-F5344CB8AC3E}">
        <p14:creationId xmlns:p14="http://schemas.microsoft.com/office/powerpoint/2010/main" val="3666783150"/>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531738"/>
          </a:xfrm>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7"/>
          <p:cNvSpPr>
            <a:spLocks noGrp="1"/>
          </p:cNvSpPr>
          <p:nvPr>
            <p:ph type="body" sz="quarter" idx="13" hasCustomPrompt="1"/>
          </p:nvPr>
        </p:nvSpPr>
        <p:spPr>
          <a:xfrm>
            <a:off x="466344" y="905256"/>
            <a:ext cx="8211312" cy="448494"/>
          </a:xfrm>
        </p:spPr>
        <p:txBody>
          <a:bodyPr>
            <a:noAutofit/>
          </a:bodyPr>
          <a:lstStyle>
            <a:lvl1pPr marL="0" indent="0">
              <a:spcBef>
                <a:spcPts val="0"/>
              </a:spcBef>
              <a:spcAft>
                <a:spcPts val="0"/>
              </a:spcAft>
              <a:buNone/>
              <a:defRPr sz="2600">
                <a:solidFill>
                  <a:schemeClr val="tx1"/>
                </a:solidFill>
              </a:defRPr>
            </a:lvl1pPr>
          </a:lstStyle>
          <a:p>
            <a:pPr lvl="0"/>
            <a:r>
              <a:rPr lang="en-US" dirty="0"/>
              <a:t>Click to edit master text styles</a:t>
            </a:r>
          </a:p>
        </p:txBody>
      </p:sp>
      <p:sp>
        <p:nvSpPr>
          <p:cNvPr id="9" name="Date Placeholder 3"/>
          <p:cNvSpPr>
            <a:spLocks noGrp="1"/>
          </p:cNvSpPr>
          <p:nvPr>
            <p:ph type="dt" sz="half" idx="2"/>
          </p:nvPr>
        </p:nvSpPr>
        <p:spPr>
          <a:xfrm>
            <a:off x="6130503"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0" name="Slide Number Placeholder 5"/>
          <p:cNvSpPr>
            <a:spLocks noGrp="1"/>
          </p:cNvSpPr>
          <p:nvPr>
            <p:ph type="sldNum" sz="quarter" idx="4"/>
          </p:nvPr>
        </p:nvSpPr>
        <p:spPr>
          <a:xfrm>
            <a:off x="466344"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991597"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12" name="TextBox 11" descr="CONFIDENTIAL_TAG_0xFFEE">
            <a:extLst>
              <a:ext uri="{FF2B5EF4-FFF2-40B4-BE49-F238E27FC236}">
                <a16:creationId xmlns:a16="http://schemas.microsoft.com/office/drawing/2014/main" id="{AFF2F103-2DA8-4F36-92EB-91494E33C7D8}"/>
              </a:ext>
            </a:extLst>
          </p:cNvPr>
          <p:cNvSpPr txBox="1"/>
          <p:nvPr userDrawn="1"/>
        </p:nvSpPr>
        <p:spPr>
          <a:xfrm>
            <a:off x="3291949" y="6539170"/>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spTree>
    <p:extLst>
      <p:ext uri="{BB962C8B-B14F-4D97-AF65-F5344CB8AC3E}">
        <p14:creationId xmlns:p14="http://schemas.microsoft.com/office/powerpoint/2010/main" val="26472129"/>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963324"/>
          </a:xfrm>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66344"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4727448"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Date Placeholder 3"/>
          <p:cNvSpPr>
            <a:spLocks noGrp="1"/>
          </p:cNvSpPr>
          <p:nvPr>
            <p:ph type="dt" sz="half" idx="10"/>
          </p:nvPr>
        </p:nvSpPr>
        <p:spPr>
          <a:xfrm>
            <a:off x="6130503"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9" name="Slide Number Placeholder 5"/>
          <p:cNvSpPr>
            <a:spLocks noGrp="1"/>
          </p:cNvSpPr>
          <p:nvPr>
            <p:ph type="sldNum" sz="quarter" idx="4"/>
          </p:nvPr>
        </p:nvSpPr>
        <p:spPr>
          <a:xfrm>
            <a:off x="466344"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0" name="Footer Placeholder 4"/>
          <p:cNvSpPr>
            <a:spLocks noGrp="1"/>
          </p:cNvSpPr>
          <p:nvPr>
            <p:ph type="ftr" sz="quarter" idx="3"/>
          </p:nvPr>
        </p:nvSpPr>
        <p:spPr>
          <a:xfrm>
            <a:off x="991597"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11" name="TextBox 10" descr="CONFIDENTIAL_TAG_0xFFEE">
            <a:extLst>
              <a:ext uri="{FF2B5EF4-FFF2-40B4-BE49-F238E27FC236}">
                <a16:creationId xmlns:a16="http://schemas.microsoft.com/office/drawing/2014/main" id="{A26CFADA-2607-4DE5-8F68-17C932F13D4B}"/>
              </a:ext>
            </a:extLst>
          </p:cNvPr>
          <p:cNvSpPr txBox="1"/>
          <p:nvPr userDrawn="1"/>
        </p:nvSpPr>
        <p:spPr>
          <a:xfrm>
            <a:off x="3291949" y="6539170"/>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spTree>
    <p:extLst>
      <p:ext uri="{BB962C8B-B14F-4D97-AF65-F5344CB8AC3E}">
        <p14:creationId xmlns:p14="http://schemas.microsoft.com/office/powerpoint/2010/main" val="1604347700"/>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9" name="Rectangle 18"/>
          <p:cNvSpPr/>
          <p:nvPr userDrawn="1"/>
        </p:nvSpPr>
        <p:spPr bwMode="gray">
          <a:xfrm>
            <a:off x="0" y="0"/>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userDrawn="1"/>
        </p:nvSpPr>
        <p:spPr bwMode="gray">
          <a:xfrm>
            <a:off x="0" y="5918944"/>
            <a:ext cx="9144000" cy="5079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userDrawn="1"/>
        </p:nvSpPr>
        <p:spPr bwMode="gray">
          <a:xfrm>
            <a:off x="0" y="5717789"/>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userDrawn="1"/>
        </p:nvSpPr>
        <p:spPr bwMode="gray">
          <a:xfrm>
            <a:off x="0" y="6012657"/>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3" name="Subtitle 2"/>
          <p:cNvSpPr>
            <a:spLocks noGrp="1"/>
          </p:cNvSpPr>
          <p:nvPr>
            <p:ph type="subTitle" idx="1" hasCustomPrompt="1"/>
          </p:nvPr>
        </p:nvSpPr>
        <p:spPr bwMode="gray">
          <a:xfrm>
            <a:off x="466344" y="3328416"/>
            <a:ext cx="8211312" cy="1329267"/>
          </a:xfrm>
        </p:spPr>
        <p:txBody>
          <a:bodyPr>
            <a:noAutofit/>
          </a:bodyPr>
          <a:lstStyle>
            <a:lvl1pPr marL="0" indent="0" algn="l">
              <a:buNone/>
              <a:defRPr sz="18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7" name="Title 16"/>
          <p:cNvSpPr>
            <a:spLocks noGrp="1"/>
          </p:cNvSpPr>
          <p:nvPr>
            <p:ph type="title" hasCustomPrompt="1"/>
          </p:nvPr>
        </p:nvSpPr>
        <p:spPr bwMode="gray">
          <a:xfrm>
            <a:off x="466344" y="1972855"/>
            <a:ext cx="8211312" cy="1165224"/>
          </a:xfrm>
        </p:spPr>
        <p:txBody>
          <a:bodyPr anchor="b" anchorCtr="0"/>
          <a:lstStyle>
            <a:lvl1pPr>
              <a:defRPr b="0" cap="none" baseline="0">
                <a:solidFill>
                  <a:schemeClr val="bg1"/>
                </a:solidFill>
              </a:defRPr>
            </a:lvl1pPr>
          </a:lstStyle>
          <a:p>
            <a:r>
              <a:rPr lang="en-US" dirty="0"/>
              <a:t>Click to Insert Section Header</a:t>
            </a:r>
          </a:p>
        </p:txBody>
      </p:sp>
      <p:sp>
        <p:nvSpPr>
          <p:cNvPr id="11" name="Date Placeholder 3"/>
          <p:cNvSpPr>
            <a:spLocks noGrp="1"/>
          </p:cNvSpPr>
          <p:nvPr>
            <p:ph type="dt" sz="half" idx="2"/>
          </p:nvPr>
        </p:nvSpPr>
        <p:spPr>
          <a:xfrm>
            <a:off x="6130503" y="6510528"/>
            <a:ext cx="1120689" cy="208800"/>
          </a:xfrm>
          <a:prstGeom prst="rect">
            <a:avLst/>
          </a:prstGeom>
        </p:spPr>
        <p:txBody>
          <a:bodyPr vert="horz" lIns="91440" tIns="45720" rIns="91440" bIns="45720" rtlCol="0" anchor="ctr"/>
          <a:lstStyle>
            <a:lvl1pPr algn="ctr">
              <a:defRPr sz="1000" b="0">
                <a:solidFill>
                  <a:schemeClr val="tx1">
                    <a:lumMod val="40000"/>
                    <a:lumOff val="60000"/>
                  </a:schemeClr>
                </a:solidFill>
              </a:defRPr>
            </a:lvl1pPr>
          </a:lstStyle>
          <a:p>
            <a:endParaRPr lang="en-US" dirty="0"/>
          </a:p>
        </p:txBody>
      </p:sp>
      <p:sp>
        <p:nvSpPr>
          <p:cNvPr id="12" name="Slide Number Placeholder 5"/>
          <p:cNvSpPr>
            <a:spLocks noGrp="1"/>
          </p:cNvSpPr>
          <p:nvPr>
            <p:ph type="sldNum" sz="quarter" idx="4"/>
          </p:nvPr>
        </p:nvSpPr>
        <p:spPr>
          <a:xfrm>
            <a:off x="466344"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3" name="Footer Placeholder 4"/>
          <p:cNvSpPr>
            <a:spLocks noGrp="1"/>
          </p:cNvSpPr>
          <p:nvPr>
            <p:ph type="ftr" sz="quarter" idx="3"/>
          </p:nvPr>
        </p:nvSpPr>
        <p:spPr>
          <a:xfrm>
            <a:off x="991597"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14" name="TextBox 13" descr="CONFIDENTIAL_TAG_0xFFEE">
            <a:extLst>
              <a:ext uri="{FF2B5EF4-FFF2-40B4-BE49-F238E27FC236}">
                <a16:creationId xmlns:a16="http://schemas.microsoft.com/office/drawing/2014/main" id="{D5171E5E-27C8-4C68-922B-D4DC4DAB0B98}"/>
              </a:ext>
            </a:extLst>
          </p:cNvPr>
          <p:cNvSpPr txBox="1"/>
          <p:nvPr userDrawn="1"/>
        </p:nvSpPr>
        <p:spPr>
          <a:xfrm>
            <a:off x="3291949" y="6539170"/>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pic>
        <p:nvPicPr>
          <p:cNvPr id="15" name="Picture 14">
            <a:extLst>
              <a:ext uri="{FF2B5EF4-FFF2-40B4-BE49-F238E27FC236}">
                <a16:creationId xmlns:a16="http://schemas.microsoft.com/office/drawing/2014/main" id="{3EBBEB1D-41C8-444C-8331-84652D431E9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169848" y="414338"/>
            <a:ext cx="2505831" cy="914400"/>
          </a:xfrm>
          <a:prstGeom prst="rect">
            <a:avLst/>
          </a:prstGeom>
        </p:spPr>
      </p:pic>
      <p:sp>
        <p:nvSpPr>
          <p:cNvPr id="16" name="Rectangle 15">
            <a:extLst>
              <a:ext uri="{FF2B5EF4-FFF2-40B4-BE49-F238E27FC236}">
                <a16:creationId xmlns:a16="http://schemas.microsoft.com/office/drawing/2014/main" id="{F5138699-F3EF-0E4A-B2E2-BC067838F492}"/>
              </a:ext>
            </a:extLst>
          </p:cNvPr>
          <p:cNvSpPr/>
          <p:nvPr userDrawn="1"/>
        </p:nvSpPr>
        <p:spPr bwMode="auto">
          <a:xfrm>
            <a:off x="7616142" y="6452653"/>
            <a:ext cx="1527858"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563911439"/>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ad Chart">
    <p:spTree>
      <p:nvGrpSpPr>
        <p:cNvPr id="1" name=""/>
        <p:cNvGrpSpPr/>
        <p:nvPr/>
      </p:nvGrpSpPr>
      <p:grpSpPr>
        <a:xfrm>
          <a:off x="0" y="0"/>
          <a:ext cx="0" cy="0"/>
          <a:chOff x="0" y="0"/>
          <a:chExt cx="0" cy="0"/>
        </a:xfrm>
      </p:grpSpPr>
      <p:grpSp>
        <p:nvGrpSpPr>
          <p:cNvPr id="22" name="Group 21"/>
          <p:cNvGrpSpPr/>
          <p:nvPr userDrawn="1"/>
        </p:nvGrpSpPr>
        <p:grpSpPr>
          <a:xfrm>
            <a:off x="453543" y="3563772"/>
            <a:ext cx="8236914" cy="45719"/>
            <a:chOff x="453543" y="3563772"/>
            <a:chExt cx="8236914" cy="45719"/>
          </a:xfrm>
        </p:grpSpPr>
        <p:sp>
          <p:nvSpPr>
            <p:cNvPr id="24" name="Rectangle 23"/>
            <p:cNvSpPr/>
            <p:nvPr/>
          </p:nvSpPr>
          <p:spPr bwMode="auto">
            <a:xfrm flipH="1">
              <a:off x="4572000" y="3563772"/>
              <a:ext cx="4118457" cy="4571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26" name="Rectangle 25"/>
            <p:cNvSpPr/>
            <p:nvPr/>
          </p:nvSpPr>
          <p:spPr bwMode="auto">
            <a:xfrm flipH="1">
              <a:off x="453543" y="3563772"/>
              <a:ext cx="4118457" cy="4571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grpSp>
        <p:nvGrpSpPr>
          <p:cNvPr id="27" name="Group 26"/>
          <p:cNvGrpSpPr/>
          <p:nvPr userDrawn="1"/>
        </p:nvGrpSpPr>
        <p:grpSpPr>
          <a:xfrm>
            <a:off x="4547705" y="1233839"/>
            <a:ext cx="48589" cy="4822179"/>
            <a:chOff x="4547705" y="1233839"/>
            <a:chExt cx="48589" cy="4822179"/>
          </a:xfrm>
        </p:grpSpPr>
        <p:sp>
          <p:nvSpPr>
            <p:cNvPr id="32" name="Rectangle 31"/>
            <p:cNvSpPr/>
            <p:nvPr/>
          </p:nvSpPr>
          <p:spPr bwMode="auto">
            <a:xfrm rot="5400000" flipH="1">
              <a:off x="3366455" y="4826179"/>
              <a:ext cx="2411089" cy="4858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33" name="Rectangle 32"/>
            <p:cNvSpPr/>
            <p:nvPr/>
          </p:nvSpPr>
          <p:spPr bwMode="auto">
            <a:xfrm rot="5400000" flipH="1">
              <a:off x="3366455" y="2415089"/>
              <a:ext cx="2411089" cy="4858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sp>
        <p:nvSpPr>
          <p:cNvPr id="4" name="Content Placeholder 3"/>
          <p:cNvSpPr>
            <a:spLocks noGrp="1"/>
          </p:cNvSpPr>
          <p:nvPr>
            <p:ph sz="half" idx="2" hasCustomPrompt="1"/>
          </p:nvPr>
        </p:nvSpPr>
        <p:spPr>
          <a:xfrm>
            <a:off x="466344" y="1865376"/>
            <a:ext cx="3857625"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6" name="Content Placeholder 5"/>
          <p:cNvSpPr>
            <a:spLocks noGrp="1"/>
          </p:cNvSpPr>
          <p:nvPr>
            <p:ph sz="quarter" idx="4" hasCustomPrompt="1"/>
          </p:nvPr>
        </p:nvSpPr>
        <p:spPr>
          <a:xfrm>
            <a:off x="4828032" y="1865376"/>
            <a:ext cx="3858768"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23" name="Text Placeholder 22"/>
          <p:cNvSpPr>
            <a:spLocks noGrp="1"/>
          </p:cNvSpPr>
          <p:nvPr userDrawn="1">
            <p:ph type="body" sz="quarter" idx="13" hasCustomPrompt="1"/>
          </p:nvPr>
        </p:nvSpPr>
        <p:spPr>
          <a:xfrm>
            <a:off x="466344" y="4169664"/>
            <a:ext cx="3857625" cy="1660672"/>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5" name="Text Placeholder 24"/>
          <p:cNvSpPr>
            <a:spLocks noGrp="1"/>
          </p:cNvSpPr>
          <p:nvPr userDrawn="1">
            <p:ph type="body" sz="quarter" idx="14" hasCustomPrompt="1"/>
          </p:nvPr>
        </p:nvSpPr>
        <p:spPr>
          <a:xfrm>
            <a:off x="4828032" y="4169664"/>
            <a:ext cx="3858768" cy="1664208"/>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8" name="Title 27"/>
          <p:cNvSpPr>
            <a:spLocks noGrp="1"/>
          </p:cNvSpPr>
          <p:nvPr userDrawn="1">
            <p:ph type="title" hasCustomPrompt="1"/>
          </p:nvPr>
        </p:nvSpPr>
        <p:spPr/>
        <p:txBody>
          <a:bodyPr>
            <a:normAutofit/>
          </a:bodyPr>
          <a:lstStyle>
            <a:lvl1pPr>
              <a:defRPr/>
            </a:lvl1pPr>
          </a:lstStyle>
          <a:p>
            <a:r>
              <a:rPr lang="en-US" dirty="0"/>
              <a:t>Click to edit master title style</a:t>
            </a:r>
          </a:p>
        </p:txBody>
      </p:sp>
      <p:sp>
        <p:nvSpPr>
          <p:cNvPr id="40" name="Text Placeholder 39"/>
          <p:cNvSpPr>
            <a:spLocks noGrp="1"/>
          </p:cNvSpPr>
          <p:nvPr userDrawn="1">
            <p:ph type="body" sz="quarter" idx="18" hasCustomPrompt="1"/>
          </p:nvPr>
        </p:nvSpPr>
        <p:spPr>
          <a:xfrm>
            <a:off x="466344" y="1481328"/>
            <a:ext cx="3858820"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dirty="0"/>
              <a:t>Click to edit</a:t>
            </a:r>
          </a:p>
        </p:txBody>
      </p:sp>
      <p:sp>
        <p:nvSpPr>
          <p:cNvPr id="41" name="Text Placeholder 39"/>
          <p:cNvSpPr>
            <a:spLocks noGrp="1"/>
          </p:cNvSpPr>
          <p:nvPr userDrawn="1">
            <p:ph type="body" sz="quarter" idx="19" hasCustomPrompt="1"/>
          </p:nvPr>
        </p:nvSpPr>
        <p:spPr>
          <a:xfrm>
            <a:off x="4828032" y="1481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dirty="0"/>
              <a:t>Click to edit</a:t>
            </a:r>
          </a:p>
        </p:txBody>
      </p:sp>
      <p:sp>
        <p:nvSpPr>
          <p:cNvPr id="42" name="Text Placeholder 39"/>
          <p:cNvSpPr>
            <a:spLocks noGrp="1"/>
          </p:cNvSpPr>
          <p:nvPr userDrawn="1">
            <p:ph type="body" sz="quarter" idx="20" hasCustomPrompt="1"/>
          </p:nvPr>
        </p:nvSpPr>
        <p:spPr>
          <a:xfrm>
            <a:off x="466344" y="3767328"/>
            <a:ext cx="3860479"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dirty="0"/>
              <a:t>Click to edit</a:t>
            </a:r>
          </a:p>
        </p:txBody>
      </p:sp>
      <p:sp>
        <p:nvSpPr>
          <p:cNvPr id="43" name="Text Placeholder 39"/>
          <p:cNvSpPr>
            <a:spLocks noGrp="1"/>
          </p:cNvSpPr>
          <p:nvPr userDrawn="1">
            <p:ph type="body" sz="quarter" idx="21" hasCustomPrompt="1"/>
          </p:nvPr>
        </p:nvSpPr>
        <p:spPr>
          <a:xfrm>
            <a:off x="4828032" y="3767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dirty="0"/>
              <a:t>Click to edit</a:t>
            </a:r>
          </a:p>
        </p:txBody>
      </p:sp>
      <p:sp>
        <p:nvSpPr>
          <p:cNvPr id="20" name="Date Placeholder 3"/>
          <p:cNvSpPr>
            <a:spLocks noGrp="1"/>
          </p:cNvSpPr>
          <p:nvPr>
            <p:ph type="dt" sz="half" idx="22"/>
          </p:nvPr>
        </p:nvSpPr>
        <p:spPr>
          <a:xfrm>
            <a:off x="6130503"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21" name="Slide Number Placeholder 5"/>
          <p:cNvSpPr>
            <a:spLocks noGrp="1"/>
          </p:cNvSpPr>
          <p:nvPr>
            <p:ph type="sldNum" sz="quarter" idx="23"/>
          </p:nvPr>
        </p:nvSpPr>
        <p:spPr>
          <a:xfrm>
            <a:off x="466344"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34" name="Footer Placeholder 4"/>
          <p:cNvSpPr>
            <a:spLocks noGrp="1"/>
          </p:cNvSpPr>
          <p:nvPr>
            <p:ph type="ftr" sz="quarter" idx="3"/>
          </p:nvPr>
        </p:nvSpPr>
        <p:spPr>
          <a:xfrm>
            <a:off x="991597"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29" name="TextBox 28" descr="CONFIDENTIAL_TAG_0xFFEE">
            <a:extLst>
              <a:ext uri="{FF2B5EF4-FFF2-40B4-BE49-F238E27FC236}">
                <a16:creationId xmlns:a16="http://schemas.microsoft.com/office/drawing/2014/main" id="{57B42D6A-42E6-4167-9F2C-BA5BE7E80EC7}"/>
              </a:ext>
            </a:extLst>
          </p:cNvPr>
          <p:cNvSpPr txBox="1"/>
          <p:nvPr userDrawn="1"/>
        </p:nvSpPr>
        <p:spPr>
          <a:xfrm>
            <a:off x="3291949" y="6539170"/>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spTree>
    <p:extLst>
      <p:ext uri="{BB962C8B-B14F-4D97-AF65-F5344CB8AC3E}">
        <p14:creationId xmlns:p14="http://schemas.microsoft.com/office/powerpoint/2010/main" val="3194640564"/>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bwMode="gray">
          <a:xfrm>
            <a:off x="461962" y="6192078"/>
            <a:ext cx="8319275"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bwMode="gray">
          <a:xfrm>
            <a:off x="461962" y="6252068"/>
            <a:ext cx="8319275"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Shape 13"/>
          <p:cNvSpPr/>
          <p:nvPr userDrawn="1"/>
        </p:nvSpPr>
        <p:spPr bwMode="white">
          <a:xfrm>
            <a:off x="8699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aphicFrame>
        <p:nvGraphicFramePr>
          <p:cNvPr id="5" name="Object 4" hidden="1"/>
          <p:cNvGraphicFramePr>
            <a:graphicFrameLocks noChangeAspect="1"/>
          </p:cNvGraphicFramePr>
          <p:nvPr userDrawn="1">
            <p:custDataLst>
              <p:tags r:id="rId23"/>
            </p:custDataLst>
            <p:extLst>
              <p:ext uri="{D42A27DB-BD31-4B8C-83A1-F6EECF244321}">
                <p14:modId xmlns:p14="http://schemas.microsoft.com/office/powerpoint/2010/main" val="537534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8"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6637189" cy="963324"/>
          </a:xfrm>
          <a:prstGeom prst="rect">
            <a:avLst/>
          </a:prstGeom>
        </p:spPr>
        <p:txBody>
          <a:bodyPr vert="horz" lIns="0" tIns="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466344" y="1481328"/>
            <a:ext cx="8211312" cy="463600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a:t>
            </a:r>
          </a:p>
        </p:txBody>
      </p:sp>
      <p:sp>
        <p:nvSpPr>
          <p:cNvPr id="4" name="Date Placeholder 3"/>
          <p:cNvSpPr>
            <a:spLocks noGrp="1"/>
          </p:cNvSpPr>
          <p:nvPr>
            <p:ph type="dt" sz="half" idx="2"/>
          </p:nvPr>
        </p:nvSpPr>
        <p:spPr>
          <a:xfrm>
            <a:off x="6130503"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6" name="Slide Number Placeholder 5"/>
          <p:cNvSpPr>
            <a:spLocks noGrp="1"/>
          </p:cNvSpPr>
          <p:nvPr>
            <p:ph type="sldNum" sz="quarter" idx="4"/>
          </p:nvPr>
        </p:nvSpPr>
        <p:spPr>
          <a:xfrm>
            <a:off x="466344"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991597"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pic>
        <p:nvPicPr>
          <p:cNvPr id="16" name="Picture 15" descr="A close up of a sign&#10;&#10;Description generated with very high confidence">
            <a:extLst>
              <a:ext uri="{FF2B5EF4-FFF2-40B4-BE49-F238E27FC236}">
                <a16:creationId xmlns:a16="http://schemas.microsoft.com/office/drawing/2014/main" id="{9F8132B6-B68B-4AF7-8A1E-5C978A21A8DF}"/>
              </a:ext>
            </a:extLst>
          </p:cNvPr>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a:off x="7754344" y="6438502"/>
            <a:ext cx="923312" cy="336534"/>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722" r:id="rId2"/>
    <p:sldLayoutId id="2147483684" r:id="rId3"/>
    <p:sldLayoutId id="2147483704" r:id="rId4"/>
    <p:sldLayoutId id="2147483685" r:id="rId5"/>
    <p:sldLayoutId id="2147483686" r:id="rId6"/>
    <p:sldLayoutId id="2147483687" r:id="rId7"/>
    <p:sldLayoutId id="2147483688" r:id="rId8"/>
    <p:sldLayoutId id="2147483699" r:id="rId9"/>
    <p:sldLayoutId id="2147483705" r:id="rId10"/>
    <p:sldLayoutId id="2147483700" r:id="rId11"/>
    <p:sldLayoutId id="2147483701" r:id="rId12"/>
    <p:sldLayoutId id="2147483718" r:id="rId13"/>
    <p:sldLayoutId id="2147483702" r:id="rId14"/>
    <p:sldLayoutId id="2147483703" r:id="rId15"/>
    <p:sldLayoutId id="2147483723" r:id="rId16"/>
    <p:sldLayoutId id="2147483725" r:id="rId17"/>
    <p:sldLayoutId id="2147483726" r:id="rId18"/>
    <p:sldLayoutId id="2147483727" r:id="rId19"/>
    <p:sldLayoutId id="2147483728" r:id="rId20"/>
  </p:sldLayoutIdLst>
  <p:hf hdr="0" ftr="0" dt="0"/>
  <p:txStyles>
    <p:title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3" userDrawn="1">
          <p15:clr>
            <a:srgbClr val="F26B43"/>
          </p15:clr>
        </p15:guide>
        <p15:guide id="2" pos="2880" userDrawn="1">
          <p15:clr>
            <a:srgbClr val="F26B43"/>
          </p15:clr>
        </p15:guide>
        <p15:guide id="3" pos="5467" userDrawn="1">
          <p15:clr>
            <a:srgbClr val="F26B43"/>
          </p15:clr>
        </p15:guide>
        <p15:guide id="4" orient="horz" pos="2160" userDrawn="1">
          <p15:clr>
            <a:srgbClr val="F26B43"/>
          </p15:clr>
        </p15:guide>
        <p15:guide id="5" orient="horz" pos="261" userDrawn="1">
          <p15:clr>
            <a:srgbClr val="F26B43"/>
          </p15:clr>
        </p15:guide>
        <p15:guide id="6" orient="horz" pos="875" userDrawn="1">
          <p15:clr>
            <a:srgbClr val="F26B43"/>
          </p15:clr>
        </p15:guide>
        <p15:guide id="7" orient="horz" pos="928" userDrawn="1">
          <p15:clr>
            <a:srgbClr val="F26B43"/>
          </p15:clr>
        </p15:guide>
        <p15:guide id="8" orient="horz" pos="3856" userDrawn="1">
          <p15:clr>
            <a:srgbClr val="F26B43"/>
          </p15:clr>
        </p15:guide>
        <p15:guide id="10" orient="horz" pos="4200" userDrawn="1">
          <p15:clr>
            <a:srgbClr val="F26B43"/>
          </p15:clr>
        </p15:guide>
        <p15:guide id="11" orient="horz" pos="405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dx.doi.org/10.25334/03VE-VK77"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hyperlink" Target="https://qubeshub.org/groups/dsube"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hyperlink" Target="https://www.kdnuggets.com/2016/10/battle-data-science-venn-diagrams.html" TargetMode="External"/><Relationship Id="rId4" Type="http://schemas.openxmlformats.org/officeDocument/2006/relationships/hyperlink" Target="http://drewconway.com/zia/2013/3/26/the-data-science-venn-diagra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customXml" Target="../ink/ink2.xml"/><Relationship Id="rId5" Type="http://schemas.openxmlformats.org/officeDocument/2006/relationships/image" Target="../media/image15.png"/><Relationship Id="rId4" Type="http://schemas.openxmlformats.org/officeDocument/2006/relationships/customXml" Target="../ink/ink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descr="&lt;TITLE&gt;{184.5,646.56,27.00008,36.72}"/>
          <p:cNvSpPr>
            <a:spLocks noGrp="1"/>
          </p:cNvSpPr>
          <p:nvPr>
            <p:ph type="ctrTitle"/>
          </p:nvPr>
        </p:nvSpPr>
        <p:spPr/>
        <p:txBody>
          <a:bodyPr/>
          <a:lstStyle/>
          <a:p>
            <a:r>
              <a:rPr lang="en" dirty="0"/>
              <a:t>Where are we in the data science landscape?</a:t>
            </a:r>
            <a:endParaRPr lang="en-US" dirty="0"/>
          </a:p>
        </p:txBody>
      </p:sp>
      <p:sp>
        <p:nvSpPr>
          <p:cNvPr id="21" name="Subtitle 20" descr="&lt;TITLE&gt;{25.44606,646.56,226.08,36.72}"/>
          <p:cNvSpPr>
            <a:spLocks noGrp="1"/>
          </p:cNvSpPr>
          <p:nvPr>
            <p:ph type="subTitle" idx="1"/>
          </p:nvPr>
        </p:nvSpPr>
        <p:spPr>
          <a:xfrm>
            <a:off x="466344" y="2871216"/>
            <a:ext cx="8211312" cy="1079783"/>
          </a:xfrm>
        </p:spPr>
        <p:txBody>
          <a:bodyPr/>
          <a:lstStyle/>
          <a:p>
            <a:r>
              <a:rPr lang="en-US" sz="2000" dirty="0">
                <a:solidFill>
                  <a:srgbClr val="FFFFFF"/>
                </a:solidFill>
              </a:rPr>
              <a:t>An opportunity to think about where you </a:t>
            </a:r>
            <a:r>
              <a:rPr lang="en-US" sz="2000" b="1" i="1" dirty="0">
                <a:solidFill>
                  <a:srgbClr val="FFFFFF"/>
                </a:solidFill>
              </a:rPr>
              <a:t>currently</a:t>
            </a:r>
            <a:r>
              <a:rPr lang="en-US" sz="2000" dirty="0">
                <a:solidFill>
                  <a:srgbClr val="FFFFFF"/>
                </a:solidFill>
              </a:rPr>
              <a:t> connect with data science.</a:t>
            </a:r>
          </a:p>
          <a:p>
            <a:endParaRPr lang="en-US" dirty="0"/>
          </a:p>
        </p:txBody>
      </p:sp>
      <p:sp>
        <p:nvSpPr>
          <p:cNvPr id="22" name="Text Placeholder 21" descr="&lt;COMPANY_NAME&gt;{91.5,646.56,359.1251,36.72}"/>
          <p:cNvSpPr>
            <a:spLocks noGrp="1"/>
          </p:cNvSpPr>
          <p:nvPr>
            <p:ph type="body" sz="quarter" idx="10"/>
          </p:nvPr>
        </p:nvSpPr>
        <p:spPr>
          <a:xfrm>
            <a:off x="466344" y="4602452"/>
            <a:ext cx="8211312" cy="1162050"/>
          </a:xfrm>
        </p:spPr>
        <p:txBody>
          <a:bodyPr/>
          <a:lstStyle/>
          <a:p>
            <a:pPr lvl="0"/>
            <a:r>
              <a:rPr lang="en-US" dirty="0"/>
              <a:t>Adapted from Donovan, S. S. (2019). </a:t>
            </a:r>
            <a:r>
              <a:rPr lang="en-US" dirty="0">
                <a:solidFill>
                  <a:schemeClr val="tx2">
                    <a:lumMod val="20000"/>
                    <a:lumOff val="80000"/>
                  </a:schemeClr>
                </a:solidFill>
                <a:hlinkClick r:id="rId3">
                  <a:extLst>
                    <a:ext uri="{A12FA001-AC4F-418D-AE19-62706E023703}">
                      <ahyp:hlinkClr xmlns:ahyp="http://schemas.microsoft.com/office/drawing/2018/hyperlinkcolor" val="tx"/>
                    </a:ext>
                  </a:extLst>
                </a:hlinkClick>
              </a:rPr>
              <a:t>Biobyte 1 - Where are we in the data science landscape?</a:t>
            </a:r>
            <a:r>
              <a:rPr lang="en-US" dirty="0">
                <a:solidFill>
                  <a:schemeClr val="tx2">
                    <a:lumMod val="20000"/>
                    <a:lumOff val="80000"/>
                  </a:schemeClr>
                </a:solidFill>
              </a:rPr>
              <a:t>. </a:t>
            </a:r>
            <a:r>
              <a:rPr lang="en-US" dirty="0">
                <a:solidFill>
                  <a:schemeClr val="tx2">
                    <a:lumMod val="20000"/>
                    <a:lumOff val="80000"/>
                  </a:schemeClr>
                </a:solidFill>
                <a:hlinkClick r:id="rId4">
                  <a:extLst>
                    <a:ext uri="{A12FA001-AC4F-418D-AE19-62706E023703}">
                      <ahyp:hlinkClr xmlns:ahyp="http://schemas.microsoft.com/office/drawing/2018/hyperlinkcolor" val="tx"/>
                    </a:ext>
                  </a:extLst>
                </a:hlinkClick>
              </a:rPr>
              <a:t>Data Science in Undergraduate Biology Education (DS-UBE)</a:t>
            </a:r>
            <a:r>
              <a:rPr lang="en-US" dirty="0"/>
              <a:t>, QUBES Educational Resources. </a:t>
            </a:r>
            <a:r>
              <a:rPr lang="en-US" dirty="0">
                <a:solidFill>
                  <a:schemeClr val="tx2">
                    <a:lumMod val="20000"/>
                    <a:lumOff val="80000"/>
                  </a:schemeClr>
                </a:solidFill>
                <a:hlinkClick r:id="rId3">
                  <a:extLst>
                    <a:ext uri="{A12FA001-AC4F-418D-AE19-62706E023703}">
                      <ahyp:hlinkClr xmlns:ahyp="http://schemas.microsoft.com/office/drawing/2018/hyperlinkcolor" val="tx"/>
                    </a:ext>
                  </a:extLst>
                </a:hlinkClick>
              </a:rPr>
              <a:t>doi:10.25334/03VE-VK77</a:t>
            </a:r>
            <a:r>
              <a:rPr lang="en-US" dirty="0">
                <a:solidFill>
                  <a:schemeClr val="tx2">
                    <a:lumMod val="20000"/>
                    <a:lumOff val="80000"/>
                  </a:schemeClr>
                </a:solidFill>
              </a:rPr>
              <a:t> </a:t>
            </a:r>
          </a:p>
        </p:txBody>
      </p:sp>
      <p:sp>
        <p:nvSpPr>
          <p:cNvPr id="3" name="Slide Number Placeholder 2"/>
          <p:cNvSpPr>
            <a:spLocks noGrp="1"/>
          </p:cNvSpPr>
          <p:nvPr>
            <p:ph type="sldNum" sz="quarter" idx="4"/>
          </p:nvPr>
        </p:nvSpPr>
        <p:spPr/>
        <p:txBody>
          <a:bodyPr/>
          <a:lstStyle/>
          <a:p>
            <a:fld id="{47A9008A-481B-4F65-A514-1AA65EA0FD53}" type="slidenum">
              <a:rPr lang="en-US" smtClean="0"/>
              <a:pPr/>
              <a:t>1</a:t>
            </a:fld>
            <a:endParaRPr lang="en-US" dirty="0"/>
          </a:p>
        </p:txBody>
      </p:sp>
    </p:spTree>
    <p:extLst>
      <p:ext uri="{BB962C8B-B14F-4D97-AF65-F5344CB8AC3E}">
        <p14:creationId xmlns:p14="http://schemas.microsoft.com/office/powerpoint/2010/main" val="29533592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83"/>
        <p:cNvGrpSpPr/>
        <p:nvPr/>
      </p:nvGrpSpPr>
      <p:grpSpPr>
        <a:xfrm>
          <a:off x="0" y="0"/>
          <a:ext cx="0" cy="0"/>
          <a:chOff x="0" y="0"/>
          <a:chExt cx="0" cy="0"/>
        </a:xfrm>
      </p:grpSpPr>
      <p:sp>
        <p:nvSpPr>
          <p:cNvPr id="184" name="Google Shape;184;p27"/>
          <p:cNvSpPr txBox="1">
            <a:spLocks noGrp="1"/>
          </p:cNvSpPr>
          <p:nvPr>
            <p:ph type="title"/>
          </p:nvPr>
        </p:nvSpPr>
        <p:spPr>
          <a:prstGeom prst="rect">
            <a:avLst/>
          </a:prstGeom>
        </p:spPr>
        <p:txBody>
          <a:bodyPr spcFirstLastPara="1" vert="horz" wrap="square" lIns="91425" tIns="91425" rIns="91425" bIns="91425" rtlCol="0" anchor="b" anchorCtr="0">
            <a:noAutofit/>
          </a:bodyPr>
          <a:lstStyle/>
          <a:p>
            <a:r>
              <a:rPr lang="en" dirty="0"/>
              <a:t>Mapping your data science landscape</a:t>
            </a:r>
            <a:endParaRPr dirty="0"/>
          </a:p>
        </p:txBody>
      </p:sp>
      <p:sp>
        <p:nvSpPr>
          <p:cNvPr id="6" name="Text Box 11">
            <a:extLst>
              <a:ext uri="{FF2B5EF4-FFF2-40B4-BE49-F238E27FC236}">
                <a16:creationId xmlns:a16="http://schemas.microsoft.com/office/drawing/2014/main" id="{D8FB69A2-5394-EF46-94BB-8C8949DA9076}"/>
              </a:ext>
            </a:extLst>
          </p:cNvPr>
          <p:cNvSpPr txBox="1"/>
          <p:nvPr/>
        </p:nvSpPr>
        <p:spPr>
          <a:xfrm>
            <a:off x="7394651" y="3076966"/>
            <a:ext cx="1532890" cy="66675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dirty="0">
                <a:ln>
                  <a:noFill/>
                </a:ln>
                <a:effectLst/>
                <a:latin typeface="Calibri" panose="020F0502020204030204" pitchFamily="34" charset="0"/>
                <a:ea typeface="Calibri" panose="020F0502020204030204" pitchFamily="34" charset="0"/>
                <a:cs typeface="Times New Roman" panose="02020603050405020304" pitchFamily="18" charset="0"/>
              </a:rPr>
              <a:t>Current use in my teaching</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Text Box 10">
            <a:extLst>
              <a:ext uri="{FF2B5EF4-FFF2-40B4-BE49-F238E27FC236}">
                <a16:creationId xmlns:a16="http://schemas.microsoft.com/office/drawing/2014/main" id="{7134988B-2E66-F74B-8D1F-AED5331BC48A}"/>
              </a:ext>
            </a:extLst>
          </p:cNvPr>
          <p:cNvSpPr txBox="1"/>
          <p:nvPr/>
        </p:nvSpPr>
        <p:spPr>
          <a:xfrm>
            <a:off x="5949732" y="2077959"/>
            <a:ext cx="2977809" cy="66675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dirty="0">
                <a:ln>
                  <a:noFill/>
                </a:ln>
                <a:effectLst/>
                <a:latin typeface="Calibri" panose="020F0502020204030204" pitchFamily="34" charset="0"/>
                <a:ea typeface="Calibri" panose="020F0502020204030204" pitchFamily="34" charset="0"/>
                <a:cs typeface="Times New Roman" panose="02020603050405020304" pitchFamily="18" charset="0"/>
              </a:rPr>
              <a:t>Importance in biology curriculum</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8" name="Text Box 25">
            <a:extLst>
              <a:ext uri="{FF2B5EF4-FFF2-40B4-BE49-F238E27FC236}">
                <a16:creationId xmlns:a16="http://schemas.microsoft.com/office/drawing/2014/main" id="{F715D645-88AC-F34D-8CA3-B03C19425171}"/>
              </a:ext>
            </a:extLst>
          </p:cNvPr>
          <p:cNvSpPr txBox="1"/>
          <p:nvPr/>
        </p:nvSpPr>
        <p:spPr>
          <a:xfrm>
            <a:off x="3224058" y="3061335"/>
            <a:ext cx="1139190" cy="583565"/>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dirty="0">
                <a:ln>
                  <a:noFill/>
                </a:ln>
                <a:effectLst/>
                <a:latin typeface="Calibri" panose="020F0502020204030204" pitchFamily="34" charset="0"/>
                <a:ea typeface="Calibri" panose="020F0502020204030204" pitchFamily="34" charset="0"/>
                <a:cs typeface="Times New Roman" panose="02020603050405020304" pitchFamily="18" charset="0"/>
              </a:rPr>
              <a:t>Confidence in my skill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9" name="Group 8">
            <a:extLst>
              <a:ext uri="{FF2B5EF4-FFF2-40B4-BE49-F238E27FC236}">
                <a16:creationId xmlns:a16="http://schemas.microsoft.com/office/drawing/2014/main" id="{C6A4FE60-9909-D343-B6F4-BB0289F5DB99}"/>
              </a:ext>
            </a:extLst>
          </p:cNvPr>
          <p:cNvGrpSpPr/>
          <p:nvPr/>
        </p:nvGrpSpPr>
        <p:grpSpPr>
          <a:xfrm>
            <a:off x="468793" y="2420620"/>
            <a:ext cx="3398524" cy="2948939"/>
            <a:chOff x="0" y="0"/>
            <a:chExt cx="3398618" cy="2949428"/>
          </a:xfrm>
        </p:grpSpPr>
        <p:sp>
          <p:nvSpPr>
            <p:cNvPr id="18" name="Text Box 27">
              <a:extLst>
                <a:ext uri="{FF2B5EF4-FFF2-40B4-BE49-F238E27FC236}">
                  <a16:creationId xmlns:a16="http://schemas.microsoft.com/office/drawing/2014/main" id="{7B3BED65-9E63-2C4F-9583-247295B33FFD}"/>
                </a:ext>
              </a:extLst>
            </p:cNvPr>
            <p:cNvSpPr txBox="1"/>
            <p:nvPr/>
          </p:nvSpPr>
          <p:spPr>
            <a:xfrm>
              <a:off x="1329397" y="0"/>
              <a:ext cx="641350" cy="41021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High</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9" name="Text Box 28">
              <a:extLst>
                <a:ext uri="{FF2B5EF4-FFF2-40B4-BE49-F238E27FC236}">
                  <a16:creationId xmlns:a16="http://schemas.microsoft.com/office/drawing/2014/main" id="{173F0C87-4821-444F-9F6B-14B1FBD9C8E5}"/>
                </a:ext>
              </a:extLst>
            </p:cNvPr>
            <p:cNvSpPr txBox="1"/>
            <p:nvPr/>
          </p:nvSpPr>
          <p:spPr>
            <a:xfrm>
              <a:off x="1329397" y="2539218"/>
              <a:ext cx="641350" cy="41021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Low</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20" name="Straight Connector 19">
              <a:extLst>
                <a:ext uri="{FF2B5EF4-FFF2-40B4-BE49-F238E27FC236}">
                  <a16:creationId xmlns:a16="http://schemas.microsoft.com/office/drawing/2014/main" id="{44E431DA-3D3A-6E4D-AB45-E792D98FD631}"/>
                </a:ext>
              </a:extLst>
            </p:cNvPr>
            <p:cNvCxnSpPr/>
            <p:nvPr/>
          </p:nvCxnSpPr>
          <p:spPr>
            <a:xfrm>
              <a:off x="1617980" y="285652"/>
              <a:ext cx="0" cy="2300605"/>
            </a:xfrm>
            <a:prstGeom prst="line">
              <a:avLst/>
            </a:prstGeom>
            <a:ln w="254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Text Box 30">
              <a:extLst>
                <a:ext uri="{FF2B5EF4-FFF2-40B4-BE49-F238E27FC236}">
                  <a16:creationId xmlns:a16="http://schemas.microsoft.com/office/drawing/2014/main" id="{3454967B-D508-F34E-9454-E7FC2CE5FB72}"/>
                </a:ext>
              </a:extLst>
            </p:cNvPr>
            <p:cNvSpPr txBox="1"/>
            <p:nvPr/>
          </p:nvSpPr>
          <p:spPr>
            <a:xfrm>
              <a:off x="0" y="1223889"/>
              <a:ext cx="641350" cy="41021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Low</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22" name="Straight Connector 21">
              <a:extLst>
                <a:ext uri="{FF2B5EF4-FFF2-40B4-BE49-F238E27FC236}">
                  <a16:creationId xmlns:a16="http://schemas.microsoft.com/office/drawing/2014/main" id="{319A39D8-BB5A-9048-863A-A1D8CDE99CEB}"/>
                </a:ext>
              </a:extLst>
            </p:cNvPr>
            <p:cNvCxnSpPr/>
            <p:nvPr/>
          </p:nvCxnSpPr>
          <p:spPr>
            <a:xfrm rot="5400000">
              <a:off x="1621180" y="272439"/>
              <a:ext cx="0" cy="2300605"/>
            </a:xfrm>
            <a:prstGeom prst="line">
              <a:avLst/>
            </a:prstGeom>
            <a:ln w="254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Text Box 32">
              <a:extLst>
                <a:ext uri="{FF2B5EF4-FFF2-40B4-BE49-F238E27FC236}">
                  <a16:creationId xmlns:a16="http://schemas.microsoft.com/office/drawing/2014/main" id="{5EA40A8F-E522-3B4F-ADA2-DAB7A98C2C7B}"/>
                </a:ext>
              </a:extLst>
            </p:cNvPr>
            <p:cNvSpPr txBox="1"/>
            <p:nvPr/>
          </p:nvSpPr>
          <p:spPr>
            <a:xfrm>
              <a:off x="2757268" y="1223889"/>
              <a:ext cx="641350" cy="41021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High</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10" name="Text Box 33">
            <a:extLst>
              <a:ext uri="{FF2B5EF4-FFF2-40B4-BE49-F238E27FC236}">
                <a16:creationId xmlns:a16="http://schemas.microsoft.com/office/drawing/2014/main" id="{6852BA09-C756-8D4E-9760-6D2A76DA8485}"/>
              </a:ext>
            </a:extLst>
          </p:cNvPr>
          <p:cNvSpPr txBox="1"/>
          <p:nvPr/>
        </p:nvSpPr>
        <p:spPr>
          <a:xfrm>
            <a:off x="1832773" y="2108200"/>
            <a:ext cx="2609215" cy="42037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dirty="0">
                <a:ln>
                  <a:noFill/>
                </a:ln>
                <a:effectLst/>
                <a:latin typeface="Calibri" panose="020F0502020204030204" pitchFamily="34" charset="0"/>
                <a:ea typeface="Calibri" panose="020F0502020204030204" pitchFamily="34" charset="0"/>
                <a:cs typeface="Times New Roman" panose="02020603050405020304" pitchFamily="18" charset="0"/>
              </a:rPr>
              <a:t>Interest in building my skill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11" name="Group 10">
            <a:extLst>
              <a:ext uri="{FF2B5EF4-FFF2-40B4-BE49-F238E27FC236}">
                <a16:creationId xmlns:a16="http://schemas.microsoft.com/office/drawing/2014/main" id="{70067307-5B59-8949-B81E-E8062B1D28F3}"/>
              </a:ext>
            </a:extLst>
          </p:cNvPr>
          <p:cNvGrpSpPr/>
          <p:nvPr/>
        </p:nvGrpSpPr>
        <p:grpSpPr>
          <a:xfrm>
            <a:off x="4619398" y="2420620"/>
            <a:ext cx="3398524" cy="2948939"/>
            <a:chOff x="0" y="0"/>
            <a:chExt cx="3398618" cy="2949428"/>
          </a:xfrm>
        </p:grpSpPr>
        <p:sp>
          <p:nvSpPr>
            <p:cNvPr id="12" name="Text Box 12">
              <a:extLst>
                <a:ext uri="{FF2B5EF4-FFF2-40B4-BE49-F238E27FC236}">
                  <a16:creationId xmlns:a16="http://schemas.microsoft.com/office/drawing/2014/main" id="{3E32B719-E445-2942-A5B1-42AD1F87BAC3}"/>
                </a:ext>
              </a:extLst>
            </p:cNvPr>
            <p:cNvSpPr txBox="1"/>
            <p:nvPr/>
          </p:nvSpPr>
          <p:spPr>
            <a:xfrm>
              <a:off x="1329397" y="0"/>
              <a:ext cx="641350" cy="41021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High</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3" name="Text Box 13">
              <a:extLst>
                <a:ext uri="{FF2B5EF4-FFF2-40B4-BE49-F238E27FC236}">
                  <a16:creationId xmlns:a16="http://schemas.microsoft.com/office/drawing/2014/main" id="{390FB553-0F51-0145-8C9D-271DE8CADA97}"/>
                </a:ext>
              </a:extLst>
            </p:cNvPr>
            <p:cNvSpPr txBox="1"/>
            <p:nvPr/>
          </p:nvSpPr>
          <p:spPr>
            <a:xfrm>
              <a:off x="1329397" y="2539218"/>
              <a:ext cx="641350" cy="41021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Low</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14" name="Straight Connector 13">
              <a:extLst>
                <a:ext uri="{FF2B5EF4-FFF2-40B4-BE49-F238E27FC236}">
                  <a16:creationId xmlns:a16="http://schemas.microsoft.com/office/drawing/2014/main" id="{45BE96C9-521A-554E-BD5D-C1760FE058D4}"/>
                </a:ext>
              </a:extLst>
            </p:cNvPr>
            <p:cNvCxnSpPr/>
            <p:nvPr/>
          </p:nvCxnSpPr>
          <p:spPr>
            <a:xfrm>
              <a:off x="1617980" y="285652"/>
              <a:ext cx="0" cy="2300605"/>
            </a:xfrm>
            <a:prstGeom prst="line">
              <a:avLst/>
            </a:prstGeom>
            <a:ln w="254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 name="Text Box 15">
              <a:extLst>
                <a:ext uri="{FF2B5EF4-FFF2-40B4-BE49-F238E27FC236}">
                  <a16:creationId xmlns:a16="http://schemas.microsoft.com/office/drawing/2014/main" id="{271FB7DA-ABA9-D145-A66F-FA7404FFFD6D}"/>
                </a:ext>
              </a:extLst>
            </p:cNvPr>
            <p:cNvSpPr txBox="1"/>
            <p:nvPr/>
          </p:nvSpPr>
          <p:spPr>
            <a:xfrm>
              <a:off x="0" y="1223889"/>
              <a:ext cx="641350" cy="41021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Low</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16" name="Straight Connector 15">
              <a:extLst>
                <a:ext uri="{FF2B5EF4-FFF2-40B4-BE49-F238E27FC236}">
                  <a16:creationId xmlns:a16="http://schemas.microsoft.com/office/drawing/2014/main" id="{721786FE-F18B-2B4A-9DBF-15E28D9A0D9A}"/>
                </a:ext>
              </a:extLst>
            </p:cNvPr>
            <p:cNvCxnSpPr/>
            <p:nvPr/>
          </p:nvCxnSpPr>
          <p:spPr>
            <a:xfrm rot="5400000">
              <a:off x="1621180" y="272439"/>
              <a:ext cx="0" cy="2300605"/>
            </a:xfrm>
            <a:prstGeom prst="line">
              <a:avLst/>
            </a:prstGeom>
            <a:ln w="254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 name="Text Box 17">
              <a:extLst>
                <a:ext uri="{FF2B5EF4-FFF2-40B4-BE49-F238E27FC236}">
                  <a16:creationId xmlns:a16="http://schemas.microsoft.com/office/drawing/2014/main" id="{CEADED3C-A432-454A-AC6B-9284FFC4EF95}"/>
                </a:ext>
              </a:extLst>
            </p:cNvPr>
            <p:cNvSpPr txBox="1"/>
            <p:nvPr/>
          </p:nvSpPr>
          <p:spPr>
            <a:xfrm>
              <a:off x="2757268" y="1223889"/>
              <a:ext cx="641350" cy="41021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High</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grpSp>
    </p:spTree>
    <p:extLst>
      <p:ext uri="{BB962C8B-B14F-4D97-AF65-F5344CB8AC3E}">
        <p14:creationId xmlns:p14="http://schemas.microsoft.com/office/powerpoint/2010/main" val="38860978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55"/>
        <p:cNvGrpSpPr/>
        <p:nvPr/>
      </p:nvGrpSpPr>
      <p:grpSpPr>
        <a:xfrm>
          <a:off x="0" y="0"/>
          <a:ext cx="0" cy="0"/>
          <a:chOff x="0" y="0"/>
          <a:chExt cx="0" cy="0"/>
        </a:xfrm>
      </p:grpSpPr>
      <p:sp>
        <p:nvSpPr>
          <p:cNvPr id="156" name="Google Shape;156;p25"/>
          <p:cNvSpPr txBox="1">
            <a:spLocks noGrp="1"/>
          </p:cNvSpPr>
          <p:nvPr>
            <p:ph type="title"/>
          </p:nvPr>
        </p:nvSpPr>
        <p:spPr>
          <a:xfrm>
            <a:off x="466344" y="420624"/>
            <a:ext cx="6637189" cy="963324"/>
          </a:xfrm>
          <a:prstGeom prst="rect">
            <a:avLst/>
          </a:prstGeom>
        </p:spPr>
        <p:txBody>
          <a:bodyPr spcFirstLastPara="1" vert="horz" wrap="square" lIns="91425" tIns="91425" rIns="91425" bIns="91425" rtlCol="0" anchor="b" anchorCtr="0">
            <a:noAutofit/>
          </a:bodyPr>
          <a:lstStyle/>
          <a:p>
            <a:r>
              <a:rPr lang="en" dirty="0"/>
              <a:t>Mapping your data science landscape</a:t>
            </a:r>
            <a:endParaRPr dirty="0"/>
          </a:p>
        </p:txBody>
      </p:sp>
      <p:graphicFrame>
        <p:nvGraphicFramePr>
          <p:cNvPr id="15" name="Table 14">
            <a:extLst>
              <a:ext uri="{FF2B5EF4-FFF2-40B4-BE49-F238E27FC236}">
                <a16:creationId xmlns:a16="http://schemas.microsoft.com/office/drawing/2014/main" id="{9F0F9C04-F87A-EB44-A805-CC712687A604}"/>
              </a:ext>
            </a:extLst>
          </p:cNvPr>
          <p:cNvGraphicFramePr>
            <a:graphicFrameLocks noGrp="1"/>
          </p:cNvGraphicFramePr>
          <p:nvPr>
            <p:extLst>
              <p:ext uri="{D42A27DB-BD31-4B8C-83A1-F6EECF244321}">
                <p14:modId xmlns:p14="http://schemas.microsoft.com/office/powerpoint/2010/main" val="2042377598"/>
              </p:ext>
            </p:extLst>
          </p:nvPr>
        </p:nvGraphicFramePr>
        <p:xfrm>
          <a:off x="604456" y="1765227"/>
          <a:ext cx="6096000" cy="128016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1269854188"/>
                    </a:ext>
                  </a:extLst>
                </a:gridCol>
                <a:gridCol w="2032000">
                  <a:extLst>
                    <a:ext uri="{9D8B030D-6E8A-4147-A177-3AD203B41FA5}">
                      <a16:colId xmlns:a16="http://schemas.microsoft.com/office/drawing/2014/main" val="2770925980"/>
                    </a:ext>
                  </a:extLst>
                </a:gridCol>
                <a:gridCol w="2032000">
                  <a:extLst>
                    <a:ext uri="{9D8B030D-6E8A-4147-A177-3AD203B41FA5}">
                      <a16:colId xmlns:a16="http://schemas.microsoft.com/office/drawing/2014/main" val="1022975298"/>
                    </a:ext>
                  </a:extLst>
                </a:gridCol>
              </a:tblGrid>
              <a:tr h="370840">
                <a:tc>
                  <a:txBody>
                    <a:bodyPr/>
                    <a:lstStyle/>
                    <a:p>
                      <a:endParaRPr lang="en-US" dirty="0"/>
                    </a:p>
                  </a:txBody>
                  <a:tcPr/>
                </a:tc>
                <a:tc>
                  <a:txBody>
                    <a:bodyPr/>
                    <a:lstStyle/>
                    <a:p>
                      <a:r>
                        <a:rPr lang="en-US" dirty="0"/>
                        <a:t>Not sure what it means</a:t>
                      </a:r>
                    </a:p>
                  </a:txBody>
                  <a:tcPr/>
                </a:tc>
                <a:tc>
                  <a:txBody>
                    <a:bodyPr/>
                    <a:lstStyle/>
                    <a:p>
                      <a:r>
                        <a:rPr lang="en-US" dirty="0"/>
                        <a:t>Not relevant to me</a:t>
                      </a:r>
                    </a:p>
                  </a:txBody>
                  <a:tcPr/>
                </a:tc>
                <a:extLst>
                  <a:ext uri="{0D108BD9-81ED-4DB2-BD59-A6C34878D82A}">
                    <a16:rowId xmlns:a16="http://schemas.microsoft.com/office/drawing/2014/main" val="1619603442"/>
                  </a:ext>
                </a:extLst>
              </a:tr>
              <a:tr h="370840">
                <a:tc>
                  <a:txBody>
                    <a:bodyPr/>
                    <a:lstStyle/>
                    <a:p>
                      <a:r>
                        <a:rPr lang="en-US" dirty="0"/>
                        <a:t>A. Mathematical Foundations</a:t>
                      </a:r>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33481235"/>
                  </a:ext>
                </a:extLst>
              </a:tr>
            </a:tbl>
          </a:graphicData>
        </a:graphic>
      </p:graphicFrame>
      <p:sp>
        <p:nvSpPr>
          <p:cNvPr id="7" name="Rectangle 6">
            <a:extLst>
              <a:ext uri="{FF2B5EF4-FFF2-40B4-BE49-F238E27FC236}">
                <a16:creationId xmlns:a16="http://schemas.microsoft.com/office/drawing/2014/main" id="{29ABD813-91DB-254E-BAEF-E837ACEBD20F}"/>
              </a:ext>
            </a:extLst>
          </p:cNvPr>
          <p:cNvSpPr/>
          <p:nvPr/>
        </p:nvSpPr>
        <p:spPr>
          <a:xfrm>
            <a:off x="5078562" y="3130461"/>
            <a:ext cx="2941831" cy="369332"/>
          </a:xfrm>
          <a:prstGeom prst="rect">
            <a:avLst/>
          </a:prstGeom>
        </p:spPr>
        <p:txBody>
          <a:bodyPr wrap="none">
            <a:spAutoFit/>
          </a:bodyPr>
          <a:lstStyle/>
          <a:p>
            <a:r>
              <a:rPr lang="en" dirty="0"/>
              <a:t>Interest in building my skill </a:t>
            </a:r>
            <a:endParaRPr lang="en-US" dirty="0"/>
          </a:p>
        </p:txBody>
      </p:sp>
      <p:grpSp>
        <p:nvGrpSpPr>
          <p:cNvPr id="17" name="Group 16">
            <a:extLst>
              <a:ext uri="{FF2B5EF4-FFF2-40B4-BE49-F238E27FC236}">
                <a16:creationId xmlns:a16="http://schemas.microsoft.com/office/drawing/2014/main" id="{44FA6F73-F518-3349-B97F-1757ADAA3570}"/>
              </a:ext>
            </a:extLst>
          </p:cNvPr>
          <p:cNvGrpSpPr/>
          <p:nvPr/>
        </p:nvGrpSpPr>
        <p:grpSpPr>
          <a:xfrm>
            <a:off x="3172051" y="3159508"/>
            <a:ext cx="3398524" cy="2948939"/>
            <a:chOff x="0" y="0"/>
            <a:chExt cx="3398618" cy="2949428"/>
          </a:xfrm>
        </p:grpSpPr>
        <p:sp>
          <p:nvSpPr>
            <p:cNvPr id="18" name="Text Box 12">
              <a:extLst>
                <a:ext uri="{FF2B5EF4-FFF2-40B4-BE49-F238E27FC236}">
                  <a16:creationId xmlns:a16="http://schemas.microsoft.com/office/drawing/2014/main" id="{BF517160-7F82-084F-AFDD-2758E04F2A3A}"/>
                </a:ext>
              </a:extLst>
            </p:cNvPr>
            <p:cNvSpPr txBox="1"/>
            <p:nvPr/>
          </p:nvSpPr>
          <p:spPr>
            <a:xfrm>
              <a:off x="1329397" y="0"/>
              <a:ext cx="641350" cy="41021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High</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9" name="Text Box 13">
              <a:extLst>
                <a:ext uri="{FF2B5EF4-FFF2-40B4-BE49-F238E27FC236}">
                  <a16:creationId xmlns:a16="http://schemas.microsoft.com/office/drawing/2014/main" id="{C2D2616F-1C94-7E4D-B67B-BDCA05000E86}"/>
                </a:ext>
              </a:extLst>
            </p:cNvPr>
            <p:cNvSpPr txBox="1"/>
            <p:nvPr/>
          </p:nvSpPr>
          <p:spPr>
            <a:xfrm>
              <a:off x="1329397" y="2539218"/>
              <a:ext cx="641350" cy="41021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Low</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20" name="Straight Connector 19">
              <a:extLst>
                <a:ext uri="{FF2B5EF4-FFF2-40B4-BE49-F238E27FC236}">
                  <a16:creationId xmlns:a16="http://schemas.microsoft.com/office/drawing/2014/main" id="{97F2D7EB-964B-E647-9A17-D9D86FFB78DB}"/>
                </a:ext>
              </a:extLst>
            </p:cNvPr>
            <p:cNvCxnSpPr/>
            <p:nvPr/>
          </p:nvCxnSpPr>
          <p:spPr>
            <a:xfrm>
              <a:off x="1617980" y="285652"/>
              <a:ext cx="0" cy="2300605"/>
            </a:xfrm>
            <a:prstGeom prst="line">
              <a:avLst/>
            </a:prstGeom>
            <a:ln w="254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Text Box 15">
              <a:extLst>
                <a:ext uri="{FF2B5EF4-FFF2-40B4-BE49-F238E27FC236}">
                  <a16:creationId xmlns:a16="http://schemas.microsoft.com/office/drawing/2014/main" id="{C02FAFA9-7A60-3A4F-9C94-50985D10740E}"/>
                </a:ext>
              </a:extLst>
            </p:cNvPr>
            <p:cNvSpPr txBox="1"/>
            <p:nvPr/>
          </p:nvSpPr>
          <p:spPr>
            <a:xfrm>
              <a:off x="0" y="1223889"/>
              <a:ext cx="641350" cy="41021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Low</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22" name="Straight Connector 21">
              <a:extLst>
                <a:ext uri="{FF2B5EF4-FFF2-40B4-BE49-F238E27FC236}">
                  <a16:creationId xmlns:a16="http://schemas.microsoft.com/office/drawing/2014/main" id="{281BFE6D-8F0F-094A-B18F-1ABD5334CC27}"/>
                </a:ext>
              </a:extLst>
            </p:cNvPr>
            <p:cNvCxnSpPr/>
            <p:nvPr/>
          </p:nvCxnSpPr>
          <p:spPr>
            <a:xfrm rot="5400000">
              <a:off x="1621180" y="272439"/>
              <a:ext cx="0" cy="2300605"/>
            </a:xfrm>
            <a:prstGeom prst="line">
              <a:avLst/>
            </a:prstGeom>
            <a:ln w="254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Text Box 17">
              <a:extLst>
                <a:ext uri="{FF2B5EF4-FFF2-40B4-BE49-F238E27FC236}">
                  <a16:creationId xmlns:a16="http://schemas.microsoft.com/office/drawing/2014/main" id="{3DAB5C1E-C6FD-564D-ABC7-CE665E2371AC}"/>
                </a:ext>
              </a:extLst>
            </p:cNvPr>
            <p:cNvSpPr txBox="1"/>
            <p:nvPr/>
          </p:nvSpPr>
          <p:spPr>
            <a:xfrm>
              <a:off x="2757268" y="1223889"/>
              <a:ext cx="641350" cy="41021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High</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24" name="Text Box 25">
            <a:extLst>
              <a:ext uri="{FF2B5EF4-FFF2-40B4-BE49-F238E27FC236}">
                <a16:creationId xmlns:a16="http://schemas.microsoft.com/office/drawing/2014/main" id="{278BB77B-9B3C-F445-A1A9-3B045E041636}"/>
              </a:ext>
            </a:extLst>
          </p:cNvPr>
          <p:cNvSpPr txBox="1"/>
          <p:nvPr/>
        </p:nvSpPr>
        <p:spPr>
          <a:xfrm>
            <a:off x="5943458" y="4738567"/>
            <a:ext cx="2717655" cy="583565"/>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dirty="0">
                <a:ln>
                  <a:noFill/>
                </a:ln>
                <a:effectLst/>
                <a:latin typeface="Calibri" panose="020F0502020204030204" pitchFamily="34" charset="0"/>
                <a:ea typeface="Calibri" panose="020F0502020204030204" pitchFamily="34" charset="0"/>
                <a:cs typeface="Times New Roman" panose="02020603050405020304" pitchFamily="18" charset="0"/>
              </a:rPr>
              <a:t>Confidence in my skills</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8" name="5-Point Star 7">
            <a:extLst>
              <a:ext uri="{FF2B5EF4-FFF2-40B4-BE49-F238E27FC236}">
                <a16:creationId xmlns:a16="http://schemas.microsoft.com/office/drawing/2014/main" id="{1A2FF208-0921-264A-AFD4-8DFB7FCF6676}"/>
              </a:ext>
            </a:extLst>
          </p:cNvPr>
          <p:cNvSpPr/>
          <p:nvPr/>
        </p:nvSpPr>
        <p:spPr bwMode="auto">
          <a:xfrm>
            <a:off x="4212911" y="4452639"/>
            <a:ext cx="266623" cy="233302"/>
          </a:xfrm>
          <a:prstGeom prst="star5">
            <a:avLst/>
          </a:prstGeom>
          <a:solidFill>
            <a:schemeClr val="accent2"/>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6" name="5-Point Star 25">
            <a:extLst>
              <a:ext uri="{FF2B5EF4-FFF2-40B4-BE49-F238E27FC236}">
                <a16:creationId xmlns:a16="http://schemas.microsoft.com/office/drawing/2014/main" id="{6D888433-A890-B749-8146-399781163AC1}"/>
              </a:ext>
            </a:extLst>
          </p:cNvPr>
          <p:cNvSpPr/>
          <p:nvPr/>
        </p:nvSpPr>
        <p:spPr bwMode="auto">
          <a:xfrm>
            <a:off x="4656674" y="3731730"/>
            <a:ext cx="266623" cy="233302"/>
          </a:xfrm>
          <a:prstGeom prst="star5">
            <a:avLst/>
          </a:prstGeom>
          <a:solidFill>
            <a:schemeClr val="accent2"/>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nvGrpSpPr>
          <p:cNvPr id="28" name="Group 27">
            <a:extLst>
              <a:ext uri="{FF2B5EF4-FFF2-40B4-BE49-F238E27FC236}">
                <a16:creationId xmlns:a16="http://schemas.microsoft.com/office/drawing/2014/main" id="{31C24E0E-F1F5-2949-9C5C-6882C6DF49CA}"/>
              </a:ext>
            </a:extLst>
          </p:cNvPr>
          <p:cNvGrpSpPr/>
          <p:nvPr/>
        </p:nvGrpSpPr>
        <p:grpSpPr>
          <a:xfrm>
            <a:off x="4179678" y="3677262"/>
            <a:ext cx="624577" cy="705933"/>
            <a:chOff x="4179678" y="3677262"/>
            <a:chExt cx="624577" cy="705933"/>
          </a:xfrm>
        </p:grpSpPr>
        <p:cxnSp>
          <p:nvCxnSpPr>
            <p:cNvPr id="29" name="Straight Connector 28">
              <a:extLst>
                <a:ext uri="{FF2B5EF4-FFF2-40B4-BE49-F238E27FC236}">
                  <a16:creationId xmlns:a16="http://schemas.microsoft.com/office/drawing/2014/main" id="{E4AF0DC8-9E51-BB42-A84E-4EA8E12AA5DF}"/>
                </a:ext>
              </a:extLst>
            </p:cNvPr>
            <p:cNvCxnSpPr>
              <a:cxnSpLocks/>
            </p:cNvCxnSpPr>
            <p:nvPr/>
          </p:nvCxnSpPr>
          <p:spPr>
            <a:xfrm flipV="1">
              <a:off x="4467997" y="3856521"/>
              <a:ext cx="336258" cy="8332"/>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C0E9DD4-EAAC-9143-AD53-0BFF209661E2}"/>
                </a:ext>
              </a:extLst>
            </p:cNvPr>
            <p:cNvCxnSpPr>
              <a:cxnSpLocks/>
            </p:cNvCxnSpPr>
            <p:nvPr/>
          </p:nvCxnSpPr>
          <p:spPr>
            <a:xfrm flipV="1">
              <a:off x="4335948" y="3965032"/>
              <a:ext cx="0" cy="418163"/>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BF7A0C8-924E-2841-9489-781F6024B7EF}"/>
                </a:ext>
              </a:extLst>
            </p:cNvPr>
            <p:cNvSpPr txBox="1"/>
            <p:nvPr/>
          </p:nvSpPr>
          <p:spPr>
            <a:xfrm>
              <a:off x="4179678" y="3677262"/>
              <a:ext cx="338554" cy="369332"/>
            </a:xfrm>
            <a:prstGeom prst="rect">
              <a:avLst/>
            </a:prstGeom>
            <a:noFill/>
          </p:spPr>
          <p:txBody>
            <a:bodyPr wrap="none" rtlCol="0">
              <a:spAutoFit/>
            </a:bodyPr>
            <a:lstStyle/>
            <a:p>
              <a:r>
                <a:rPr lang="en-US" dirty="0"/>
                <a:t>A</a:t>
              </a:r>
            </a:p>
          </p:txBody>
        </p:sp>
      </p:grpSp>
    </p:spTree>
    <p:extLst>
      <p:ext uri="{BB962C8B-B14F-4D97-AF65-F5344CB8AC3E}">
        <p14:creationId xmlns:p14="http://schemas.microsoft.com/office/powerpoint/2010/main" val="3764567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89"/>
        <p:cNvGrpSpPr/>
        <p:nvPr/>
      </p:nvGrpSpPr>
      <p:grpSpPr>
        <a:xfrm>
          <a:off x="0" y="0"/>
          <a:ext cx="0" cy="0"/>
          <a:chOff x="0" y="0"/>
          <a:chExt cx="0" cy="0"/>
        </a:xfrm>
      </p:grpSpPr>
      <p:sp>
        <p:nvSpPr>
          <p:cNvPr id="190" name="Google Shape;190;p28"/>
          <p:cNvSpPr txBox="1">
            <a:spLocks noGrp="1"/>
          </p:cNvSpPr>
          <p:nvPr>
            <p:ph type="title"/>
          </p:nvPr>
        </p:nvSpPr>
        <p:spPr>
          <a:prstGeom prst="rect">
            <a:avLst/>
          </a:prstGeom>
        </p:spPr>
        <p:txBody>
          <a:bodyPr spcFirstLastPara="1" vert="horz" wrap="square" lIns="91425" tIns="91425" rIns="91425" bIns="91425" rtlCol="0" anchor="b" anchorCtr="0">
            <a:noAutofit/>
          </a:bodyPr>
          <a:lstStyle/>
          <a:p>
            <a:r>
              <a:rPr lang="en" dirty="0"/>
              <a:t>Mapping your data science landscape: </a:t>
            </a:r>
            <a:r>
              <a:rPr lang="en" dirty="0">
                <a:latin typeface="Roboto"/>
                <a:ea typeface="Roboto"/>
                <a:cs typeface="Roboto"/>
                <a:sym typeface="Roboto"/>
              </a:rPr>
              <a:t>why are we doing this?</a:t>
            </a:r>
            <a:endParaRPr dirty="0">
              <a:latin typeface="Roboto"/>
              <a:ea typeface="Roboto"/>
              <a:cs typeface="Roboto"/>
              <a:sym typeface="Roboto"/>
            </a:endParaRPr>
          </a:p>
        </p:txBody>
      </p:sp>
      <p:sp>
        <p:nvSpPr>
          <p:cNvPr id="191" name="Google Shape;191;p28"/>
          <p:cNvSpPr txBox="1">
            <a:spLocks noGrp="1"/>
          </p:cNvSpPr>
          <p:nvPr>
            <p:ph sz="half" idx="1"/>
          </p:nvPr>
        </p:nvSpPr>
        <p:spPr>
          <a:prstGeom prst="rect">
            <a:avLst/>
          </a:prstGeom>
        </p:spPr>
        <p:txBody>
          <a:bodyPr spcFirstLastPara="1" vert="horz" wrap="square" lIns="91425" tIns="91425" rIns="91425" bIns="91425" rtlCol="0" anchor="t" anchorCtr="0">
            <a:noAutofit/>
          </a:bodyPr>
          <a:lstStyle/>
          <a:p>
            <a:pPr marL="0" indent="0">
              <a:buNone/>
            </a:pPr>
            <a:r>
              <a:rPr lang="en" sz="1800" dirty="0"/>
              <a:t>If we think that there is an intersection, we need to explore where it might be. </a:t>
            </a:r>
            <a:endParaRPr sz="1800" dirty="0"/>
          </a:p>
          <a:p>
            <a:pPr marL="0" indent="0">
              <a:spcBef>
                <a:spcPts val="1600"/>
              </a:spcBef>
              <a:buNone/>
            </a:pPr>
            <a:r>
              <a:rPr lang="en" sz="1800" dirty="0"/>
              <a:t>Celebrate the diversity of backgrounds and interests in this community.</a:t>
            </a:r>
            <a:endParaRPr sz="1800" dirty="0"/>
          </a:p>
          <a:p>
            <a:pPr marL="0" indent="0">
              <a:spcBef>
                <a:spcPts val="1600"/>
              </a:spcBef>
              <a:buNone/>
            </a:pPr>
            <a:r>
              <a:rPr lang="en" sz="1800" dirty="0"/>
              <a:t>Help us reflect on areas where we hope to collaborate and learn.</a:t>
            </a:r>
            <a:endParaRPr sz="1800" dirty="0"/>
          </a:p>
          <a:p>
            <a:pPr marL="0" indent="0">
              <a:spcBef>
                <a:spcPts val="1600"/>
              </a:spcBef>
              <a:spcAft>
                <a:spcPts val="1600"/>
              </a:spcAft>
              <a:buNone/>
            </a:pPr>
            <a:r>
              <a:rPr lang="en" sz="1800" dirty="0"/>
              <a:t>Recognize that there are no unicorns; science is interdisciplinary; and disciplinary expertise is an important resource. </a:t>
            </a:r>
            <a:endParaRPr sz="1800" dirty="0"/>
          </a:p>
        </p:txBody>
      </p:sp>
      <p:sp>
        <p:nvSpPr>
          <p:cNvPr id="192" name="Google Shape;192;p28"/>
          <p:cNvSpPr txBox="1">
            <a:spLocks noGrp="1"/>
          </p:cNvSpPr>
          <p:nvPr>
            <p:ph sz="half" idx="2"/>
          </p:nvPr>
        </p:nvSpPr>
        <p:spPr>
          <a:prstGeom prst="rect">
            <a:avLst/>
          </a:prstGeom>
        </p:spPr>
        <p:txBody>
          <a:bodyPr spcFirstLastPara="1" vert="horz" wrap="square" lIns="91425" tIns="91425" rIns="91425" bIns="91425" rtlCol="0" anchor="t" anchorCtr="0">
            <a:noAutofit/>
          </a:bodyPr>
          <a:lstStyle/>
          <a:p>
            <a:pPr marL="0" indent="0">
              <a:buNone/>
            </a:pPr>
            <a:r>
              <a:rPr lang="en" sz="2000" dirty="0"/>
              <a:t>Goals:</a:t>
            </a:r>
            <a:endParaRPr sz="2000" dirty="0"/>
          </a:p>
          <a:p>
            <a:pPr>
              <a:spcBef>
                <a:spcPts val="1600"/>
              </a:spcBef>
            </a:pPr>
            <a:r>
              <a:rPr lang="en" sz="2000" dirty="0"/>
              <a:t>Become familiar with how data science is defined.</a:t>
            </a:r>
            <a:endParaRPr sz="2000" dirty="0"/>
          </a:p>
          <a:p>
            <a:pPr>
              <a:spcBef>
                <a:spcPts val="1600"/>
              </a:spcBef>
              <a:spcAft>
                <a:spcPts val="1600"/>
              </a:spcAft>
            </a:pPr>
            <a:r>
              <a:rPr lang="en" sz="2000" dirty="0"/>
              <a:t>Explore where your interests and teaching might intersect with data science principles and practices.</a:t>
            </a:r>
            <a:endParaRPr sz="2000" dirty="0"/>
          </a:p>
        </p:txBody>
      </p:sp>
    </p:spTree>
    <p:extLst>
      <p:ext uri="{BB962C8B-B14F-4D97-AF65-F5344CB8AC3E}">
        <p14:creationId xmlns:p14="http://schemas.microsoft.com/office/powerpoint/2010/main" val="7280685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991EF83C-AB0E-2442-89F7-8A997CCEB71B}"/>
              </a:ext>
            </a:extLst>
          </p:cNvPr>
          <p:cNvGraphicFramePr>
            <a:graphicFrameLocks noGrp="1"/>
          </p:cNvGraphicFramePr>
          <p:nvPr>
            <p:ph idx="1"/>
            <p:extLst>
              <p:ext uri="{D42A27DB-BD31-4B8C-83A1-F6EECF244321}">
                <p14:modId xmlns:p14="http://schemas.microsoft.com/office/powerpoint/2010/main" val="4281034226"/>
              </p:ext>
            </p:extLst>
          </p:nvPr>
        </p:nvGraphicFramePr>
        <p:xfrm>
          <a:off x="449120" y="213190"/>
          <a:ext cx="8245760" cy="4663440"/>
        </p:xfrm>
        <a:graphic>
          <a:graphicData uri="http://schemas.openxmlformats.org/drawingml/2006/table">
            <a:tbl>
              <a:tblPr firstRow="1" bandRow="1">
                <a:tableStyleId>{5C22544A-7EE6-4342-B048-85BDC9FD1C3A}</a:tableStyleId>
              </a:tblPr>
              <a:tblGrid>
                <a:gridCol w="4578267">
                  <a:extLst>
                    <a:ext uri="{9D8B030D-6E8A-4147-A177-3AD203B41FA5}">
                      <a16:colId xmlns:a16="http://schemas.microsoft.com/office/drawing/2014/main" val="1045491743"/>
                    </a:ext>
                  </a:extLst>
                </a:gridCol>
                <a:gridCol w="1993187">
                  <a:extLst>
                    <a:ext uri="{9D8B030D-6E8A-4147-A177-3AD203B41FA5}">
                      <a16:colId xmlns:a16="http://schemas.microsoft.com/office/drawing/2014/main" val="2067597918"/>
                    </a:ext>
                  </a:extLst>
                </a:gridCol>
                <a:gridCol w="1674306">
                  <a:extLst>
                    <a:ext uri="{9D8B030D-6E8A-4147-A177-3AD203B41FA5}">
                      <a16:colId xmlns:a16="http://schemas.microsoft.com/office/drawing/2014/main" val="185715844"/>
                    </a:ext>
                  </a:extLst>
                </a:gridCol>
              </a:tblGrid>
              <a:tr h="370840">
                <a:tc>
                  <a:txBody>
                    <a:bodyPr/>
                    <a:lstStyle/>
                    <a:p>
                      <a:r>
                        <a:rPr lang="en-US" sz="2000" dirty="0"/>
                        <a:t>Key Concept</a:t>
                      </a:r>
                    </a:p>
                  </a:txBody>
                  <a:tcPr/>
                </a:tc>
                <a:tc>
                  <a:txBody>
                    <a:bodyPr/>
                    <a:lstStyle/>
                    <a:p>
                      <a:r>
                        <a:rPr lang="en-US" sz="2000" dirty="0"/>
                        <a:t>Not sure what this means</a:t>
                      </a:r>
                    </a:p>
                  </a:txBody>
                  <a:tcPr/>
                </a:tc>
                <a:tc>
                  <a:txBody>
                    <a:bodyPr/>
                    <a:lstStyle/>
                    <a:p>
                      <a:r>
                        <a:rPr lang="en-US" sz="2000" dirty="0"/>
                        <a:t>Not relevant to me </a:t>
                      </a:r>
                    </a:p>
                  </a:txBody>
                  <a:tcPr/>
                </a:tc>
                <a:extLst>
                  <a:ext uri="{0D108BD9-81ED-4DB2-BD59-A6C34878D82A}">
                    <a16:rowId xmlns:a16="http://schemas.microsoft.com/office/drawing/2014/main" val="3325071991"/>
                  </a:ext>
                </a:extLst>
              </a:tr>
              <a:tr h="370840">
                <a:tc>
                  <a:txBody>
                    <a:bodyPr/>
                    <a:lstStyle/>
                    <a:p>
                      <a:r>
                        <a:rPr lang="en-US" sz="2000" dirty="0"/>
                        <a:t>A. </a:t>
                      </a:r>
                      <a:r>
                        <a:rPr lang="en-US" sz="2000" kern="1200" dirty="0">
                          <a:solidFill>
                            <a:schemeClr val="dk1"/>
                          </a:solidFill>
                          <a:effectLst/>
                          <a:latin typeface="+mn-lt"/>
                          <a:ea typeface="+mn-ea"/>
                          <a:cs typeface="+mn-cs"/>
                        </a:rPr>
                        <a:t>Mathematical foundations</a:t>
                      </a:r>
                      <a:endParaRPr lang="en-US" sz="2000" dirty="0"/>
                    </a:p>
                  </a:txBody>
                  <a:tcPr/>
                </a:tc>
                <a:tc>
                  <a:txBody>
                    <a:bodyPr/>
                    <a:lstStyle/>
                    <a:p>
                      <a:endParaRPr lang="en-US" sz="2000"/>
                    </a:p>
                  </a:txBody>
                  <a:tcPr/>
                </a:tc>
                <a:tc>
                  <a:txBody>
                    <a:bodyPr/>
                    <a:lstStyle/>
                    <a:p>
                      <a:endParaRPr lang="en-US" sz="2000"/>
                    </a:p>
                  </a:txBody>
                  <a:tcPr/>
                </a:tc>
                <a:extLst>
                  <a:ext uri="{0D108BD9-81ED-4DB2-BD59-A6C34878D82A}">
                    <a16:rowId xmlns:a16="http://schemas.microsoft.com/office/drawing/2014/main" val="2681941728"/>
                  </a:ext>
                </a:extLst>
              </a:tr>
              <a:tr h="370840">
                <a:tc>
                  <a:txBody>
                    <a:bodyPr/>
                    <a:lstStyle/>
                    <a:p>
                      <a:r>
                        <a:rPr lang="en-US" sz="2000" dirty="0"/>
                        <a:t>B. </a:t>
                      </a:r>
                      <a:r>
                        <a:rPr lang="en-US" sz="2000" kern="1200" dirty="0">
                          <a:solidFill>
                            <a:schemeClr val="dk1"/>
                          </a:solidFill>
                          <a:effectLst/>
                          <a:latin typeface="+mn-lt"/>
                          <a:ea typeface="+mn-ea"/>
                          <a:cs typeface="+mn-cs"/>
                        </a:rPr>
                        <a:t>Computational foundations</a:t>
                      </a:r>
                      <a:r>
                        <a:rPr lang="en-US" sz="2000" dirty="0">
                          <a:effectLst/>
                        </a:rPr>
                        <a:t> </a:t>
                      </a:r>
                      <a:endParaRPr lang="en-US" sz="2000" dirty="0"/>
                    </a:p>
                  </a:txBody>
                  <a:tcPr/>
                </a:tc>
                <a:tc>
                  <a:txBody>
                    <a:bodyPr/>
                    <a:lstStyle/>
                    <a:p>
                      <a:endParaRPr lang="en-US" sz="2000"/>
                    </a:p>
                  </a:txBody>
                  <a:tcPr/>
                </a:tc>
                <a:tc>
                  <a:txBody>
                    <a:bodyPr/>
                    <a:lstStyle/>
                    <a:p>
                      <a:endParaRPr lang="en-US" sz="2000"/>
                    </a:p>
                  </a:txBody>
                  <a:tcPr/>
                </a:tc>
                <a:extLst>
                  <a:ext uri="{0D108BD9-81ED-4DB2-BD59-A6C34878D82A}">
                    <a16:rowId xmlns:a16="http://schemas.microsoft.com/office/drawing/2014/main" val="4184538714"/>
                  </a:ext>
                </a:extLst>
              </a:tr>
              <a:tr h="370840">
                <a:tc>
                  <a:txBody>
                    <a:bodyPr/>
                    <a:lstStyle/>
                    <a:p>
                      <a:r>
                        <a:rPr lang="en-US" sz="2000" dirty="0"/>
                        <a:t>C. </a:t>
                      </a:r>
                      <a:r>
                        <a:rPr lang="en-US" sz="2000" kern="1200" dirty="0">
                          <a:solidFill>
                            <a:schemeClr val="dk1"/>
                          </a:solidFill>
                          <a:effectLst/>
                          <a:latin typeface="+mn-lt"/>
                          <a:ea typeface="+mn-ea"/>
                          <a:cs typeface="+mn-cs"/>
                        </a:rPr>
                        <a:t>Statistical foundations</a:t>
                      </a:r>
                      <a:endParaRPr lang="en-US" sz="2000" dirty="0"/>
                    </a:p>
                  </a:txBody>
                  <a:tcPr/>
                </a:tc>
                <a:tc>
                  <a:txBody>
                    <a:bodyPr/>
                    <a:lstStyle/>
                    <a:p>
                      <a:endParaRPr lang="en-US" sz="2000"/>
                    </a:p>
                  </a:txBody>
                  <a:tcPr/>
                </a:tc>
                <a:tc>
                  <a:txBody>
                    <a:bodyPr/>
                    <a:lstStyle/>
                    <a:p>
                      <a:endParaRPr lang="en-US" sz="2000"/>
                    </a:p>
                  </a:txBody>
                  <a:tcPr/>
                </a:tc>
                <a:extLst>
                  <a:ext uri="{0D108BD9-81ED-4DB2-BD59-A6C34878D82A}">
                    <a16:rowId xmlns:a16="http://schemas.microsoft.com/office/drawing/2014/main" val="2430619087"/>
                  </a:ext>
                </a:extLst>
              </a:tr>
              <a:tr h="370840">
                <a:tc>
                  <a:txBody>
                    <a:bodyPr/>
                    <a:lstStyle/>
                    <a:p>
                      <a:r>
                        <a:rPr lang="en-US" sz="2000" dirty="0"/>
                        <a:t>D. </a:t>
                      </a:r>
                      <a:r>
                        <a:rPr lang="en-US" sz="2000" kern="1200" dirty="0">
                          <a:solidFill>
                            <a:schemeClr val="dk1"/>
                          </a:solidFill>
                          <a:effectLst/>
                          <a:latin typeface="+mn-lt"/>
                          <a:ea typeface="+mn-ea"/>
                          <a:cs typeface="+mn-cs"/>
                        </a:rPr>
                        <a:t>Data management and curation</a:t>
                      </a:r>
                      <a:endParaRPr lang="en-US" sz="2000" dirty="0"/>
                    </a:p>
                  </a:txBody>
                  <a:tcPr/>
                </a:tc>
                <a:tc>
                  <a:txBody>
                    <a:bodyPr/>
                    <a:lstStyle/>
                    <a:p>
                      <a:endParaRPr lang="en-US" sz="2000"/>
                    </a:p>
                  </a:txBody>
                  <a:tcPr/>
                </a:tc>
                <a:tc>
                  <a:txBody>
                    <a:bodyPr/>
                    <a:lstStyle/>
                    <a:p>
                      <a:endParaRPr lang="en-US" sz="2000"/>
                    </a:p>
                  </a:txBody>
                  <a:tcPr/>
                </a:tc>
                <a:extLst>
                  <a:ext uri="{0D108BD9-81ED-4DB2-BD59-A6C34878D82A}">
                    <a16:rowId xmlns:a16="http://schemas.microsoft.com/office/drawing/2014/main" val="2486619280"/>
                  </a:ext>
                </a:extLst>
              </a:tr>
              <a:tr h="370840">
                <a:tc>
                  <a:txBody>
                    <a:bodyPr/>
                    <a:lstStyle/>
                    <a:p>
                      <a:r>
                        <a:rPr lang="en-US" sz="2000" dirty="0"/>
                        <a:t>E. </a:t>
                      </a:r>
                      <a:r>
                        <a:rPr lang="en-US" sz="2000" kern="1200" dirty="0">
                          <a:solidFill>
                            <a:schemeClr val="dk1"/>
                          </a:solidFill>
                          <a:effectLst/>
                          <a:latin typeface="+mn-lt"/>
                          <a:ea typeface="+mn-ea"/>
                          <a:cs typeface="+mn-cs"/>
                        </a:rPr>
                        <a:t>Data description and visualization</a:t>
                      </a:r>
                      <a:endParaRPr lang="en-US" sz="2000" dirty="0"/>
                    </a:p>
                  </a:txBody>
                  <a:tcPr/>
                </a:tc>
                <a:tc>
                  <a:txBody>
                    <a:bodyPr/>
                    <a:lstStyle/>
                    <a:p>
                      <a:endParaRPr lang="en-US" sz="2000"/>
                    </a:p>
                  </a:txBody>
                  <a:tcPr/>
                </a:tc>
                <a:tc>
                  <a:txBody>
                    <a:bodyPr/>
                    <a:lstStyle/>
                    <a:p>
                      <a:endParaRPr lang="en-US" sz="2000"/>
                    </a:p>
                  </a:txBody>
                  <a:tcPr/>
                </a:tc>
                <a:extLst>
                  <a:ext uri="{0D108BD9-81ED-4DB2-BD59-A6C34878D82A}">
                    <a16:rowId xmlns:a16="http://schemas.microsoft.com/office/drawing/2014/main" val="4010084129"/>
                  </a:ext>
                </a:extLst>
              </a:tr>
              <a:tr h="370840">
                <a:tc>
                  <a:txBody>
                    <a:bodyPr/>
                    <a:lstStyle/>
                    <a:p>
                      <a:r>
                        <a:rPr lang="en-US" sz="2000" dirty="0"/>
                        <a:t>F. Data modeling and assessment</a:t>
                      </a:r>
                    </a:p>
                  </a:txBody>
                  <a:tcPr/>
                </a:tc>
                <a:tc>
                  <a:txBody>
                    <a:bodyPr/>
                    <a:lstStyle/>
                    <a:p>
                      <a:endParaRPr lang="en-US" sz="2000"/>
                    </a:p>
                  </a:txBody>
                  <a:tcPr/>
                </a:tc>
                <a:tc>
                  <a:txBody>
                    <a:bodyPr/>
                    <a:lstStyle/>
                    <a:p>
                      <a:endParaRPr lang="en-US" sz="2000"/>
                    </a:p>
                  </a:txBody>
                  <a:tcPr/>
                </a:tc>
                <a:extLst>
                  <a:ext uri="{0D108BD9-81ED-4DB2-BD59-A6C34878D82A}">
                    <a16:rowId xmlns:a16="http://schemas.microsoft.com/office/drawing/2014/main" val="3136316372"/>
                  </a:ext>
                </a:extLst>
              </a:tr>
              <a:tr h="370840">
                <a:tc>
                  <a:txBody>
                    <a:bodyPr/>
                    <a:lstStyle/>
                    <a:p>
                      <a:r>
                        <a:rPr lang="en-US" sz="2000" dirty="0"/>
                        <a:t>G. Workflow and reproducibility</a:t>
                      </a:r>
                    </a:p>
                  </a:txBody>
                  <a:tcPr/>
                </a:tc>
                <a:tc>
                  <a:txBody>
                    <a:bodyPr/>
                    <a:lstStyle/>
                    <a:p>
                      <a:endParaRPr lang="en-US" sz="2000"/>
                    </a:p>
                  </a:txBody>
                  <a:tcPr/>
                </a:tc>
                <a:tc>
                  <a:txBody>
                    <a:bodyPr/>
                    <a:lstStyle/>
                    <a:p>
                      <a:endParaRPr lang="en-US" sz="2000"/>
                    </a:p>
                  </a:txBody>
                  <a:tcPr/>
                </a:tc>
                <a:extLst>
                  <a:ext uri="{0D108BD9-81ED-4DB2-BD59-A6C34878D82A}">
                    <a16:rowId xmlns:a16="http://schemas.microsoft.com/office/drawing/2014/main" val="2466929568"/>
                  </a:ext>
                </a:extLst>
              </a:tr>
              <a:tr h="370840">
                <a:tc>
                  <a:txBody>
                    <a:bodyPr/>
                    <a:lstStyle/>
                    <a:p>
                      <a:r>
                        <a:rPr lang="en-US" sz="2000" dirty="0"/>
                        <a:t>H. Communication and teamwork</a:t>
                      </a:r>
                    </a:p>
                  </a:txBody>
                  <a:tcPr/>
                </a:tc>
                <a:tc>
                  <a:txBody>
                    <a:bodyPr/>
                    <a:lstStyle/>
                    <a:p>
                      <a:endParaRPr lang="en-US" sz="2000"/>
                    </a:p>
                  </a:txBody>
                  <a:tcPr/>
                </a:tc>
                <a:tc>
                  <a:txBody>
                    <a:bodyPr/>
                    <a:lstStyle/>
                    <a:p>
                      <a:endParaRPr lang="en-US" sz="2000"/>
                    </a:p>
                  </a:txBody>
                  <a:tcPr/>
                </a:tc>
                <a:extLst>
                  <a:ext uri="{0D108BD9-81ED-4DB2-BD59-A6C34878D82A}">
                    <a16:rowId xmlns:a16="http://schemas.microsoft.com/office/drawing/2014/main" val="2853743210"/>
                  </a:ext>
                </a:extLst>
              </a:tr>
              <a:tr h="370840">
                <a:tc>
                  <a:txBody>
                    <a:bodyPr/>
                    <a:lstStyle/>
                    <a:p>
                      <a:r>
                        <a:rPr lang="en-US" sz="2000" dirty="0"/>
                        <a:t>I.  Domain-specific considerations </a:t>
                      </a:r>
                    </a:p>
                  </a:txBody>
                  <a:tcPr/>
                </a:tc>
                <a:tc>
                  <a:txBody>
                    <a:bodyPr/>
                    <a:lstStyle/>
                    <a:p>
                      <a:endParaRPr lang="en-US" sz="2000"/>
                    </a:p>
                  </a:txBody>
                  <a:tcPr/>
                </a:tc>
                <a:tc>
                  <a:txBody>
                    <a:bodyPr/>
                    <a:lstStyle/>
                    <a:p>
                      <a:endParaRPr lang="en-US" sz="2000" dirty="0"/>
                    </a:p>
                  </a:txBody>
                  <a:tcPr/>
                </a:tc>
                <a:extLst>
                  <a:ext uri="{0D108BD9-81ED-4DB2-BD59-A6C34878D82A}">
                    <a16:rowId xmlns:a16="http://schemas.microsoft.com/office/drawing/2014/main" val="3912057943"/>
                  </a:ext>
                </a:extLst>
              </a:tr>
              <a:tr h="370840">
                <a:tc>
                  <a:txBody>
                    <a:bodyPr/>
                    <a:lstStyle/>
                    <a:p>
                      <a:r>
                        <a:rPr lang="en-US" sz="2000" dirty="0"/>
                        <a:t>J. Ethical problem solving </a:t>
                      </a:r>
                    </a:p>
                  </a:txBody>
                  <a:tcPr/>
                </a:tc>
                <a:tc>
                  <a:txBody>
                    <a:bodyPr/>
                    <a:lstStyle/>
                    <a:p>
                      <a:endParaRPr lang="en-US" sz="2000"/>
                    </a:p>
                  </a:txBody>
                  <a:tcPr/>
                </a:tc>
                <a:tc>
                  <a:txBody>
                    <a:bodyPr/>
                    <a:lstStyle/>
                    <a:p>
                      <a:endParaRPr lang="en-US" sz="2000" dirty="0"/>
                    </a:p>
                  </a:txBody>
                  <a:tcPr/>
                </a:tc>
                <a:extLst>
                  <a:ext uri="{0D108BD9-81ED-4DB2-BD59-A6C34878D82A}">
                    <a16:rowId xmlns:a16="http://schemas.microsoft.com/office/drawing/2014/main" val="2435278746"/>
                  </a:ext>
                </a:extLst>
              </a:tr>
            </a:tbl>
          </a:graphicData>
        </a:graphic>
      </p:graphicFrame>
      <p:sp>
        <p:nvSpPr>
          <p:cNvPr id="5" name="Slide Number Placeholder 4">
            <a:extLst>
              <a:ext uri="{FF2B5EF4-FFF2-40B4-BE49-F238E27FC236}">
                <a16:creationId xmlns:a16="http://schemas.microsoft.com/office/drawing/2014/main" id="{5CDE3B0C-DD51-0C49-9765-888C5544F54F}"/>
              </a:ext>
            </a:extLst>
          </p:cNvPr>
          <p:cNvSpPr>
            <a:spLocks noGrp="1"/>
          </p:cNvSpPr>
          <p:nvPr>
            <p:ph type="sldNum" sz="quarter" idx="4"/>
          </p:nvPr>
        </p:nvSpPr>
        <p:spPr/>
        <p:txBody>
          <a:bodyPr/>
          <a:lstStyle/>
          <a:p>
            <a:fld id="{47A9008A-481B-4F65-A514-1AA65EA0FD53}" type="slidenum">
              <a:rPr lang="en-US" smtClean="0"/>
              <a:pPr/>
              <a:t>13</a:t>
            </a:fld>
            <a:endParaRPr lang="en-US" dirty="0"/>
          </a:p>
        </p:txBody>
      </p:sp>
      <p:grpSp>
        <p:nvGrpSpPr>
          <p:cNvPr id="2" name="Group 1">
            <a:extLst>
              <a:ext uri="{FF2B5EF4-FFF2-40B4-BE49-F238E27FC236}">
                <a16:creationId xmlns:a16="http://schemas.microsoft.com/office/drawing/2014/main" id="{AF82D962-5ADB-DB4F-9DD4-B3D325FCF0AE}"/>
              </a:ext>
            </a:extLst>
          </p:cNvPr>
          <p:cNvGrpSpPr/>
          <p:nvPr/>
        </p:nvGrpSpPr>
        <p:grpSpPr>
          <a:xfrm>
            <a:off x="5135081" y="4876630"/>
            <a:ext cx="3872539" cy="1297439"/>
            <a:chOff x="5065976" y="117478"/>
            <a:chExt cx="3872539" cy="1297439"/>
          </a:xfrm>
        </p:grpSpPr>
        <p:sp>
          <p:nvSpPr>
            <p:cNvPr id="4" name="Text Box 11">
              <a:extLst>
                <a:ext uri="{FF2B5EF4-FFF2-40B4-BE49-F238E27FC236}">
                  <a16:creationId xmlns:a16="http://schemas.microsoft.com/office/drawing/2014/main" id="{D5058E06-1BBD-634F-AC36-4F16C98924FA}"/>
                </a:ext>
              </a:extLst>
            </p:cNvPr>
            <p:cNvSpPr txBox="1"/>
            <p:nvPr/>
          </p:nvSpPr>
          <p:spPr>
            <a:xfrm>
              <a:off x="6320426" y="679071"/>
              <a:ext cx="2618089" cy="350743"/>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dirty="0">
                  <a:ln>
                    <a:noFill/>
                  </a:ln>
                  <a:effectLst/>
                  <a:latin typeface="Calibri" panose="020F0502020204030204" pitchFamily="34" charset="0"/>
                  <a:ea typeface="Calibri" panose="020F0502020204030204" pitchFamily="34" charset="0"/>
                  <a:cs typeface="Times New Roman" panose="02020603050405020304" pitchFamily="18" charset="0"/>
                </a:rPr>
                <a:t>Current use in my teaching</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 name="Text Box 10">
              <a:extLst>
                <a:ext uri="{FF2B5EF4-FFF2-40B4-BE49-F238E27FC236}">
                  <a16:creationId xmlns:a16="http://schemas.microsoft.com/office/drawing/2014/main" id="{8A7C7D58-65BF-A742-A53A-B44AA3CFDA8D}"/>
                </a:ext>
              </a:extLst>
            </p:cNvPr>
            <p:cNvSpPr txBox="1"/>
            <p:nvPr/>
          </p:nvSpPr>
          <p:spPr>
            <a:xfrm>
              <a:off x="5738650" y="117478"/>
              <a:ext cx="2977809" cy="299926"/>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dirty="0">
                  <a:ln>
                    <a:noFill/>
                  </a:ln>
                  <a:effectLst/>
                  <a:latin typeface="Calibri" panose="020F0502020204030204" pitchFamily="34" charset="0"/>
                  <a:ea typeface="Calibri" panose="020F0502020204030204" pitchFamily="34" charset="0"/>
                  <a:cs typeface="Times New Roman" panose="02020603050405020304" pitchFamily="18" charset="0"/>
                </a:rPr>
                <a:t>Importance in biology curriculum</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24" name="Group 23">
              <a:extLst>
                <a:ext uri="{FF2B5EF4-FFF2-40B4-BE49-F238E27FC236}">
                  <a16:creationId xmlns:a16="http://schemas.microsoft.com/office/drawing/2014/main" id="{BEC8E834-8A08-0443-8867-1EBAE6E91BF1}"/>
                </a:ext>
              </a:extLst>
            </p:cNvPr>
            <p:cNvGrpSpPr/>
            <p:nvPr/>
          </p:nvGrpSpPr>
          <p:grpSpPr>
            <a:xfrm>
              <a:off x="5065976" y="217644"/>
              <a:ext cx="1254450" cy="1197273"/>
              <a:chOff x="470877" y="285652"/>
              <a:chExt cx="2300605" cy="2300605"/>
            </a:xfrm>
          </p:grpSpPr>
          <p:cxnSp>
            <p:nvCxnSpPr>
              <p:cNvPr id="25" name="Straight Connector 24">
                <a:extLst>
                  <a:ext uri="{FF2B5EF4-FFF2-40B4-BE49-F238E27FC236}">
                    <a16:creationId xmlns:a16="http://schemas.microsoft.com/office/drawing/2014/main" id="{4BA75148-7F20-E947-9760-23CBDDCBBEFF}"/>
                  </a:ext>
                </a:extLst>
              </p:cNvPr>
              <p:cNvCxnSpPr/>
              <p:nvPr/>
            </p:nvCxnSpPr>
            <p:spPr>
              <a:xfrm>
                <a:off x="1617980" y="285652"/>
                <a:ext cx="0" cy="2300605"/>
              </a:xfrm>
              <a:prstGeom prst="line">
                <a:avLst/>
              </a:prstGeom>
              <a:ln w="254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77FA467-8B06-654A-A1ED-BABFCFDF0428}"/>
                  </a:ext>
                </a:extLst>
              </p:cNvPr>
              <p:cNvCxnSpPr/>
              <p:nvPr/>
            </p:nvCxnSpPr>
            <p:spPr>
              <a:xfrm rot="5400000">
                <a:off x="1621180" y="272439"/>
                <a:ext cx="0" cy="2300605"/>
              </a:xfrm>
              <a:prstGeom prst="line">
                <a:avLst/>
              </a:prstGeom>
              <a:ln w="254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30" name="Group 29">
            <a:extLst>
              <a:ext uri="{FF2B5EF4-FFF2-40B4-BE49-F238E27FC236}">
                <a16:creationId xmlns:a16="http://schemas.microsoft.com/office/drawing/2014/main" id="{180677F6-75CA-4C46-BA61-4291834D4B96}"/>
              </a:ext>
            </a:extLst>
          </p:cNvPr>
          <p:cNvGrpSpPr/>
          <p:nvPr/>
        </p:nvGrpSpPr>
        <p:grpSpPr>
          <a:xfrm>
            <a:off x="466344" y="4926878"/>
            <a:ext cx="3821961" cy="1265522"/>
            <a:chOff x="601643" y="157347"/>
            <a:chExt cx="3821961" cy="1265522"/>
          </a:xfrm>
        </p:grpSpPr>
        <p:cxnSp>
          <p:nvCxnSpPr>
            <p:cNvPr id="12" name="Straight Connector 11">
              <a:extLst>
                <a:ext uri="{FF2B5EF4-FFF2-40B4-BE49-F238E27FC236}">
                  <a16:creationId xmlns:a16="http://schemas.microsoft.com/office/drawing/2014/main" id="{50676118-E055-F94F-A94B-8360BD4DCF9C}"/>
                </a:ext>
              </a:extLst>
            </p:cNvPr>
            <p:cNvCxnSpPr/>
            <p:nvPr/>
          </p:nvCxnSpPr>
          <p:spPr>
            <a:xfrm>
              <a:off x="1228868" y="225596"/>
              <a:ext cx="0" cy="1197273"/>
            </a:xfrm>
            <a:prstGeom prst="line">
              <a:avLst/>
            </a:prstGeom>
            <a:ln w="254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7F88A78-FFB7-7C46-8050-0E7A98E2D9AF}"/>
                </a:ext>
              </a:extLst>
            </p:cNvPr>
            <p:cNvCxnSpPr/>
            <p:nvPr/>
          </p:nvCxnSpPr>
          <p:spPr>
            <a:xfrm rot="5400000">
              <a:off x="1228868" y="182179"/>
              <a:ext cx="0" cy="1254450"/>
            </a:xfrm>
            <a:prstGeom prst="line">
              <a:avLst/>
            </a:prstGeom>
            <a:ln w="254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 name="Text Box 25">
              <a:extLst>
                <a:ext uri="{FF2B5EF4-FFF2-40B4-BE49-F238E27FC236}">
                  <a16:creationId xmlns:a16="http://schemas.microsoft.com/office/drawing/2014/main" id="{F9CA42FD-CE1A-4648-85B6-895A37DEF904}"/>
                </a:ext>
              </a:extLst>
            </p:cNvPr>
            <p:cNvSpPr txBox="1"/>
            <p:nvPr/>
          </p:nvSpPr>
          <p:spPr>
            <a:xfrm>
              <a:off x="1854349" y="689127"/>
              <a:ext cx="2569255" cy="303747"/>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dirty="0">
                  <a:ln>
                    <a:noFill/>
                  </a:ln>
                  <a:effectLst/>
                  <a:latin typeface="Calibri" panose="020F0502020204030204" pitchFamily="34" charset="0"/>
                  <a:ea typeface="Calibri" panose="020F0502020204030204" pitchFamily="34" charset="0"/>
                  <a:cs typeface="Times New Roman" panose="02020603050405020304" pitchFamily="18" charset="0"/>
                </a:rPr>
                <a:t>Confidence in my skill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9" name="Text Box 33">
              <a:extLst>
                <a:ext uri="{FF2B5EF4-FFF2-40B4-BE49-F238E27FC236}">
                  <a16:creationId xmlns:a16="http://schemas.microsoft.com/office/drawing/2014/main" id="{BC071B2E-C2FC-A742-B4C9-71DE26C31F3A}"/>
                </a:ext>
              </a:extLst>
            </p:cNvPr>
            <p:cNvSpPr txBox="1"/>
            <p:nvPr/>
          </p:nvSpPr>
          <p:spPr>
            <a:xfrm>
              <a:off x="1393161" y="157347"/>
              <a:ext cx="2569256" cy="303742"/>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dirty="0">
                  <a:ln>
                    <a:noFill/>
                  </a:ln>
                  <a:effectLst/>
                  <a:latin typeface="Calibri" panose="020F0502020204030204" pitchFamily="34" charset="0"/>
                  <a:ea typeface="Calibri" panose="020F0502020204030204" pitchFamily="34" charset="0"/>
                  <a:cs typeface="Times New Roman" panose="02020603050405020304" pitchFamily="18" charset="0"/>
                </a:rPr>
                <a:t>Interest in building my skill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grpSp>
    </p:spTree>
    <p:extLst>
      <p:ext uri="{BB962C8B-B14F-4D97-AF65-F5344CB8AC3E}">
        <p14:creationId xmlns:p14="http://schemas.microsoft.com/office/powerpoint/2010/main" val="10092252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98F349-E6EE-934F-A0DA-BF42ED87343B}"/>
              </a:ext>
            </a:extLst>
          </p:cNvPr>
          <p:cNvSpPr>
            <a:spLocks noGrp="1"/>
          </p:cNvSpPr>
          <p:nvPr>
            <p:ph type="title"/>
          </p:nvPr>
        </p:nvSpPr>
        <p:spPr/>
        <p:txBody>
          <a:bodyPr/>
          <a:lstStyle/>
          <a:p>
            <a:r>
              <a:rPr lang="en" dirty="0"/>
              <a:t>Mapping your data science landscape: your plots</a:t>
            </a:r>
            <a:endParaRPr lang="en-US" dirty="0"/>
          </a:p>
        </p:txBody>
      </p:sp>
      <p:sp>
        <p:nvSpPr>
          <p:cNvPr id="3" name="Content Placeholder 2">
            <a:extLst>
              <a:ext uri="{FF2B5EF4-FFF2-40B4-BE49-F238E27FC236}">
                <a16:creationId xmlns:a16="http://schemas.microsoft.com/office/drawing/2014/main" id="{4A7E0164-6F8F-224B-9411-8116BAB92F37}"/>
              </a:ext>
            </a:extLst>
          </p:cNvPr>
          <p:cNvSpPr>
            <a:spLocks noGrp="1"/>
          </p:cNvSpPr>
          <p:nvPr>
            <p:ph idx="1"/>
          </p:nvPr>
        </p:nvSpPr>
        <p:spPr/>
        <p:txBody>
          <a:bodyPr/>
          <a:lstStyle/>
          <a:p>
            <a:r>
              <a:rPr lang="en-US" dirty="0"/>
              <a:t>Patterns ? </a:t>
            </a:r>
          </a:p>
          <a:p>
            <a:r>
              <a:rPr lang="en-US" dirty="0"/>
              <a:t>Surprises ? </a:t>
            </a:r>
          </a:p>
          <a:p>
            <a:r>
              <a:rPr lang="en-US" dirty="0"/>
              <a:t>Areas you want to focus on for modules you implement or develop in this FMN? </a:t>
            </a:r>
          </a:p>
        </p:txBody>
      </p:sp>
      <p:sp>
        <p:nvSpPr>
          <p:cNvPr id="4" name="Slide Number Placeholder 3">
            <a:extLst>
              <a:ext uri="{FF2B5EF4-FFF2-40B4-BE49-F238E27FC236}">
                <a16:creationId xmlns:a16="http://schemas.microsoft.com/office/drawing/2014/main" id="{0AED7019-DA98-604A-9F0D-4AD85A8E9BCA}"/>
              </a:ext>
            </a:extLst>
          </p:cNvPr>
          <p:cNvSpPr>
            <a:spLocks noGrp="1"/>
          </p:cNvSpPr>
          <p:nvPr>
            <p:ph type="sldNum" sz="quarter" idx="4"/>
          </p:nvPr>
        </p:nvSpPr>
        <p:spPr/>
        <p:txBody>
          <a:bodyPr/>
          <a:lstStyle/>
          <a:p>
            <a:fld id="{47A9008A-481B-4F65-A514-1AA65EA0FD53}" type="slidenum">
              <a:rPr lang="en-US" smtClean="0"/>
              <a:pPr/>
              <a:t>14</a:t>
            </a:fld>
            <a:endParaRPr lang="en-US" dirty="0"/>
          </a:p>
        </p:txBody>
      </p:sp>
    </p:spTree>
    <p:extLst>
      <p:ext uri="{BB962C8B-B14F-4D97-AF65-F5344CB8AC3E}">
        <p14:creationId xmlns:p14="http://schemas.microsoft.com/office/powerpoint/2010/main" val="33991789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83DBFD67-62B8-7647-B85E-42098B13C7CF}"/>
              </a:ext>
            </a:extLst>
          </p:cNvPr>
          <p:cNvSpPr>
            <a:spLocks noGrp="1"/>
          </p:cNvSpPr>
          <p:nvPr>
            <p:ph type="subTitle" idx="1"/>
          </p:nvPr>
        </p:nvSpPr>
        <p:spPr/>
        <p:txBody>
          <a:bodyPr/>
          <a:lstStyle/>
          <a:p>
            <a:endParaRPr lang="en-US"/>
          </a:p>
        </p:txBody>
      </p:sp>
      <p:sp>
        <p:nvSpPr>
          <p:cNvPr id="5" name="Title 4">
            <a:extLst>
              <a:ext uri="{FF2B5EF4-FFF2-40B4-BE49-F238E27FC236}">
                <a16:creationId xmlns:a16="http://schemas.microsoft.com/office/drawing/2014/main" id="{C57305D2-D974-A04F-BF01-06672AC29354}"/>
              </a:ext>
            </a:extLst>
          </p:cNvPr>
          <p:cNvSpPr>
            <a:spLocks noGrp="1"/>
          </p:cNvSpPr>
          <p:nvPr>
            <p:ph type="title"/>
          </p:nvPr>
        </p:nvSpPr>
        <p:spPr/>
        <p:txBody>
          <a:bodyPr/>
          <a:lstStyle/>
          <a:p>
            <a:r>
              <a:rPr lang="en-US" dirty="0"/>
              <a:t>Alternative Activity Instructions: </a:t>
            </a:r>
            <a:br>
              <a:rPr lang="en-US" dirty="0"/>
            </a:br>
            <a:r>
              <a:rPr lang="en-US" dirty="0"/>
              <a:t>Using Handout</a:t>
            </a:r>
          </a:p>
        </p:txBody>
      </p:sp>
      <p:sp>
        <p:nvSpPr>
          <p:cNvPr id="4" name="Slide Number Placeholder 3">
            <a:extLst>
              <a:ext uri="{FF2B5EF4-FFF2-40B4-BE49-F238E27FC236}">
                <a16:creationId xmlns:a16="http://schemas.microsoft.com/office/drawing/2014/main" id="{DF81769D-0149-8B4C-96AD-6831C75FEBA9}"/>
              </a:ext>
            </a:extLst>
          </p:cNvPr>
          <p:cNvSpPr>
            <a:spLocks noGrp="1"/>
          </p:cNvSpPr>
          <p:nvPr>
            <p:ph type="sldNum" sz="quarter" idx="4"/>
          </p:nvPr>
        </p:nvSpPr>
        <p:spPr/>
        <p:txBody>
          <a:bodyPr/>
          <a:lstStyle/>
          <a:p>
            <a:fld id="{47A9008A-481B-4F65-A514-1AA65EA0FD53}" type="slidenum">
              <a:rPr lang="en-US" smtClean="0"/>
              <a:pPr/>
              <a:t>15</a:t>
            </a:fld>
            <a:endParaRPr lang="en-US" dirty="0"/>
          </a:p>
        </p:txBody>
      </p:sp>
    </p:spTree>
    <p:extLst>
      <p:ext uri="{BB962C8B-B14F-4D97-AF65-F5344CB8AC3E}">
        <p14:creationId xmlns:p14="http://schemas.microsoft.com/office/powerpoint/2010/main" val="8465266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55"/>
        <p:cNvGrpSpPr/>
        <p:nvPr/>
      </p:nvGrpSpPr>
      <p:grpSpPr>
        <a:xfrm>
          <a:off x="0" y="0"/>
          <a:ext cx="0" cy="0"/>
          <a:chOff x="0" y="0"/>
          <a:chExt cx="0" cy="0"/>
        </a:xfrm>
      </p:grpSpPr>
      <p:sp>
        <p:nvSpPr>
          <p:cNvPr id="156" name="Google Shape;156;p25"/>
          <p:cNvSpPr txBox="1">
            <a:spLocks noGrp="1"/>
          </p:cNvSpPr>
          <p:nvPr>
            <p:ph type="title"/>
          </p:nvPr>
        </p:nvSpPr>
        <p:spPr>
          <a:xfrm>
            <a:off x="466344" y="420624"/>
            <a:ext cx="8158111" cy="963324"/>
          </a:xfrm>
          <a:prstGeom prst="rect">
            <a:avLst/>
          </a:prstGeom>
        </p:spPr>
        <p:txBody>
          <a:bodyPr spcFirstLastPara="1" vert="horz" wrap="square" lIns="91425" tIns="91425" rIns="91425" bIns="91425" rtlCol="0" anchor="b" anchorCtr="0">
            <a:noAutofit/>
          </a:bodyPr>
          <a:lstStyle/>
          <a:p>
            <a:r>
              <a:rPr lang="en" dirty="0"/>
              <a:t>Mapping your data science landscape</a:t>
            </a:r>
            <a:endParaRPr dirty="0"/>
          </a:p>
        </p:txBody>
      </p:sp>
      <p:graphicFrame>
        <p:nvGraphicFramePr>
          <p:cNvPr id="13" name="Table 12">
            <a:extLst>
              <a:ext uri="{FF2B5EF4-FFF2-40B4-BE49-F238E27FC236}">
                <a16:creationId xmlns:a16="http://schemas.microsoft.com/office/drawing/2014/main" id="{692E191A-5F8F-1C4E-ABF4-047EB7A5681F}"/>
              </a:ext>
            </a:extLst>
          </p:cNvPr>
          <p:cNvGraphicFramePr>
            <a:graphicFrameLocks noGrp="1"/>
          </p:cNvGraphicFramePr>
          <p:nvPr/>
        </p:nvGraphicFramePr>
        <p:xfrm>
          <a:off x="604456" y="1765227"/>
          <a:ext cx="6096000" cy="128016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1269854188"/>
                    </a:ext>
                  </a:extLst>
                </a:gridCol>
                <a:gridCol w="2032000">
                  <a:extLst>
                    <a:ext uri="{9D8B030D-6E8A-4147-A177-3AD203B41FA5}">
                      <a16:colId xmlns:a16="http://schemas.microsoft.com/office/drawing/2014/main" val="2770925980"/>
                    </a:ext>
                  </a:extLst>
                </a:gridCol>
                <a:gridCol w="2032000">
                  <a:extLst>
                    <a:ext uri="{9D8B030D-6E8A-4147-A177-3AD203B41FA5}">
                      <a16:colId xmlns:a16="http://schemas.microsoft.com/office/drawing/2014/main" val="1022975298"/>
                    </a:ext>
                  </a:extLst>
                </a:gridCol>
              </a:tblGrid>
              <a:tr h="370840">
                <a:tc>
                  <a:txBody>
                    <a:bodyPr/>
                    <a:lstStyle/>
                    <a:p>
                      <a:endParaRPr lang="en-US" dirty="0"/>
                    </a:p>
                  </a:txBody>
                  <a:tcPr/>
                </a:tc>
                <a:tc>
                  <a:txBody>
                    <a:bodyPr/>
                    <a:lstStyle/>
                    <a:p>
                      <a:r>
                        <a:rPr lang="en-US" dirty="0"/>
                        <a:t>Not sure what it means</a:t>
                      </a:r>
                    </a:p>
                  </a:txBody>
                  <a:tcPr/>
                </a:tc>
                <a:tc>
                  <a:txBody>
                    <a:bodyPr/>
                    <a:lstStyle/>
                    <a:p>
                      <a:r>
                        <a:rPr lang="en-US" dirty="0"/>
                        <a:t>Not relevant to me</a:t>
                      </a:r>
                    </a:p>
                  </a:txBody>
                  <a:tcPr/>
                </a:tc>
                <a:extLst>
                  <a:ext uri="{0D108BD9-81ED-4DB2-BD59-A6C34878D82A}">
                    <a16:rowId xmlns:a16="http://schemas.microsoft.com/office/drawing/2014/main" val="1619603442"/>
                  </a:ext>
                </a:extLst>
              </a:tr>
              <a:tr h="370840">
                <a:tc>
                  <a:txBody>
                    <a:bodyPr/>
                    <a:lstStyle/>
                    <a:p>
                      <a:r>
                        <a:rPr lang="en-US" dirty="0"/>
                        <a:t>A. Mathematical Foundations</a:t>
                      </a:r>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33481235"/>
                  </a:ext>
                </a:extLst>
              </a:tr>
            </a:tbl>
          </a:graphicData>
        </a:graphic>
      </p:graphicFrame>
    </p:spTree>
    <p:extLst>
      <p:ext uri="{BB962C8B-B14F-4D97-AF65-F5344CB8AC3E}">
        <p14:creationId xmlns:p14="http://schemas.microsoft.com/office/powerpoint/2010/main" val="29380384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55"/>
        <p:cNvGrpSpPr/>
        <p:nvPr/>
      </p:nvGrpSpPr>
      <p:grpSpPr>
        <a:xfrm>
          <a:off x="0" y="0"/>
          <a:ext cx="0" cy="0"/>
          <a:chOff x="0" y="0"/>
          <a:chExt cx="0" cy="0"/>
        </a:xfrm>
      </p:grpSpPr>
      <p:sp>
        <p:nvSpPr>
          <p:cNvPr id="156" name="Google Shape;156;p25"/>
          <p:cNvSpPr txBox="1">
            <a:spLocks noGrp="1"/>
          </p:cNvSpPr>
          <p:nvPr>
            <p:ph type="title"/>
          </p:nvPr>
        </p:nvSpPr>
        <p:spPr>
          <a:xfrm>
            <a:off x="466344" y="420624"/>
            <a:ext cx="6637189" cy="963324"/>
          </a:xfrm>
          <a:prstGeom prst="rect">
            <a:avLst/>
          </a:prstGeom>
        </p:spPr>
        <p:txBody>
          <a:bodyPr spcFirstLastPara="1" vert="horz" wrap="square" lIns="91425" tIns="91425" rIns="91425" bIns="91425" rtlCol="0" anchor="b" anchorCtr="0">
            <a:noAutofit/>
          </a:bodyPr>
          <a:lstStyle/>
          <a:p>
            <a:r>
              <a:rPr lang="en" dirty="0"/>
              <a:t>Mapping your data science landscape</a:t>
            </a:r>
            <a:endParaRPr dirty="0"/>
          </a:p>
        </p:txBody>
      </p:sp>
      <p:graphicFrame>
        <p:nvGraphicFramePr>
          <p:cNvPr id="15" name="Table 14">
            <a:extLst>
              <a:ext uri="{FF2B5EF4-FFF2-40B4-BE49-F238E27FC236}">
                <a16:creationId xmlns:a16="http://schemas.microsoft.com/office/drawing/2014/main" id="{9F0F9C04-F87A-EB44-A805-CC712687A604}"/>
              </a:ext>
            </a:extLst>
          </p:cNvPr>
          <p:cNvGraphicFramePr>
            <a:graphicFrameLocks noGrp="1"/>
          </p:cNvGraphicFramePr>
          <p:nvPr/>
        </p:nvGraphicFramePr>
        <p:xfrm>
          <a:off x="604456" y="1765227"/>
          <a:ext cx="6096000" cy="128016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1269854188"/>
                    </a:ext>
                  </a:extLst>
                </a:gridCol>
                <a:gridCol w="2032000">
                  <a:extLst>
                    <a:ext uri="{9D8B030D-6E8A-4147-A177-3AD203B41FA5}">
                      <a16:colId xmlns:a16="http://schemas.microsoft.com/office/drawing/2014/main" val="2770925980"/>
                    </a:ext>
                  </a:extLst>
                </a:gridCol>
                <a:gridCol w="2032000">
                  <a:extLst>
                    <a:ext uri="{9D8B030D-6E8A-4147-A177-3AD203B41FA5}">
                      <a16:colId xmlns:a16="http://schemas.microsoft.com/office/drawing/2014/main" val="1022975298"/>
                    </a:ext>
                  </a:extLst>
                </a:gridCol>
              </a:tblGrid>
              <a:tr h="370840">
                <a:tc>
                  <a:txBody>
                    <a:bodyPr/>
                    <a:lstStyle/>
                    <a:p>
                      <a:endParaRPr lang="en-US" dirty="0"/>
                    </a:p>
                  </a:txBody>
                  <a:tcPr/>
                </a:tc>
                <a:tc>
                  <a:txBody>
                    <a:bodyPr/>
                    <a:lstStyle/>
                    <a:p>
                      <a:r>
                        <a:rPr lang="en-US" dirty="0"/>
                        <a:t>Not sure what it means</a:t>
                      </a:r>
                    </a:p>
                  </a:txBody>
                  <a:tcPr/>
                </a:tc>
                <a:tc>
                  <a:txBody>
                    <a:bodyPr/>
                    <a:lstStyle/>
                    <a:p>
                      <a:r>
                        <a:rPr lang="en-US" dirty="0"/>
                        <a:t>Not relevant to me</a:t>
                      </a:r>
                    </a:p>
                  </a:txBody>
                  <a:tcPr/>
                </a:tc>
                <a:extLst>
                  <a:ext uri="{0D108BD9-81ED-4DB2-BD59-A6C34878D82A}">
                    <a16:rowId xmlns:a16="http://schemas.microsoft.com/office/drawing/2014/main" val="1619603442"/>
                  </a:ext>
                </a:extLst>
              </a:tr>
              <a:tr h="370840">
                <a:tc>
                  <a:txBody>
                    <a:bodyPr/>
                    <a:lstStyle/>
                    <a:p>
                      <a:r>
                        <a:rPr lang="en-US" dirty="0"/>
                        <a:t>A. Mathematical Foundations</a:t>
                      </a:r>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33481235"/>
                  </a:ext>
                </a:extLst>
              </a:tr>
            </a:tbl>
          </a:graphicData>
        </a:graphic>
      </p:graphicFrame>
      <p:sp>
        <p:nvSpPr>
          <p:cNvPr id="7" name="Rectangle 6">
            <a:extLst>
              <a:ext uri="{FF2B5EF4-FFF2-40B4-BE49-F238E27FC236}">
                <a16:creationId xmlns:a16="http://schemas.microsoft.com/office/drawing/2014/main" id="{29ABD813-91DB-254E-BAEF-E837ACEBD20F}"/>
              </a:ext>
            </a:extLst>
          </p:cNvPr>
          <p:cNvSpPr/>
          <p:nvPr/>
        </p:nvSpPr>
        <p:spPr>
          <a:xfrm>
            <a:off x="5078562" y="3130461"/>
            <a:ext cx="2941831" cy="369332"/>
          </a:xfrm>
          <a:prstGeom prst="rect">
            <a:avLst/>
          </a:prstGeom>
        </p:spPr>
        <p:txBody>
          <a:bodyPr wrap="none">
            <a:spAutoFit/>
          </a:bodyPr>
          <a:lstStyle/>
          <a:p>
            <a:r>
              <a:rPr lang="en" dirty="0"/>
              <a:t>Interest in building my skill </a:t>
            </a:r>
            <a:endParaRPr lang="en-US" dirty="0"/>
          </a:p>
        </p:txBody>
      </p:sp>
      <p:grpSp>
        <p:nvGrpSpPr>
          <p:cNvPr id="17" name="Group 16">
            <a:extLst>
              <a:ext uri="{FF2B5EF4-FFF2-40B4-BE49-F238E27FC236}">
                <a16:creationId xmlns:a16="http://schemas.microsoft.com/office/drawing/2014/main" id="{44FA6F73-F518-3349-B97F-1757ADAA3570}"/>
              </a:ext>
            </a:extLst>
          </p:cNvPr>
          <p:cNvGrpSpPr/>
          <p:nvPr/>
        </p:nvGrpSpPr>
        <p:grpSpPr>
          <a:xfrm>
            <a:off x="3172051" y="3159508"/>
            <a:ext cx="3398524" cy="2948939"/>
            <a:chOff x="0" y="0"/>
            <a:chExt cx="3398618" cy="2949428"/>
          </a:xfrm>
        </p:grpSpPr>
        <p:sp>
          <p:nvSpPr>
            <p:cNvPr id="18" name="Text Box 12">
              <a:extLst>
                <a:ext uri="{FF2B5EF4-FFF2-40B4-BE49-F238E27FC236}">
                  <a16:creationId xmlns:a16="http://schemas.microsoft.com/office/drawing/2014/main" id="{BF517160-7F82-084F-AFDD-2758E04F2A3A}"/>
                </a:ext>
              </a:extLst>
            </p:cNvPr>
            <p:cNvSpPr txBox="1"/>
            <p:nvPr/>
          </p:nvSpPr>
          <p:spPr>
            <a:xfrm>
              <a:off x="1329397" y="0"/>
              <a:ext cx="641350" cy="41021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High</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9" name="Text Box 13">
              <a:extLst>
                <a:ext uri="{FF2B5EF4-FFF2-40B4-BE49-F238E27FC236}">
                  <a16:creationId xmlns:a16="http://schemas.microsoft.com/office/drawing/2014/main" id="{C2D2616F-1C94-7E4D-B67B-BDCA05000E86}"/>
                </a:ext>
              </a:extLst>
            </p:cNvPr>
            <p:cNvSpPr txBox="1"/>
            <p:nvPr/>
          </p:nvSpPr>
          <p:spPr>
            <a:xfrm>
              <a:off x="1329397" y="2539218"/>
              <a:ext cx="641350" cy="41021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Low</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20" name="Straight Connector 19">
              <a:extLst>
                <a:ext uri="{FF2B5EF4-FFF2-40B4-BE49-F238E27FC236}">
                  <a16:creationId xmlns:a16="http://schemas.microsoft.com/office/drawing/2014/main" id="{97F2D7EB-964B-E647-9A17-D9D86FFB78DB}"/>
                </a:ext>
              </a:extLst>
            </p:cNvPr>
            <p:cNvCxnSpPr/>
            <p:nvPr/>
          </p:nvCxnSpPr>
          <p:spPr>
            <a:xfrm>
              <a:off x="1617980" y="285652"/>
              <a:ext cx="0" cy="2300605"/>
            </a:xfrm>
            <a:prstGeom prst="line">
              <a:avLst/>
            </a:prstGeom>
            <a:ln w="254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Text Box 15">
              <a:extLst>
                <a:ext uri="{FF2B5EF4-FFF2-40B4-BE49-F238E27FC236}">
                  <a16:creationId xmlns:a16="http://schemas.microsoft.com/office/drawing/2014/main" id="{C02FAFA9-7A60-3A4F-9C94-50985D10740E}"/>
                </a:ext>
              </a:extLst>
            </p:cNvPr>
            <p:cNvSpPr txBox="1"/>
            <p:nvPr/>
          </p:nvSpPr>
          <p:spPr>
            <a:xfrm>
              <a:off x="0" y="1223889"/>
              <a:ext cx="641350" cy="41021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Low</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22" name="Straight Connector 21">
              <a:extLst>
                <a:ext uri="{FF2B5EF4-FFF2-40B4-BE49-F238E27FC236}">
                  <a16:creationId xmlns:a16="http://schemas.microsoft.com/office/drawing/2014/main" id="{281BFE6D-8F0F-094A-B18F-1ABD5334CC27}"/>
                </a:ext>
              </a:extLst>
            </p:cNvPr>
            <p:cNvCxnSpPr/>
            <p:nvPr/>
          </p:nvCxnSpPr>
          <p:spPr>
            <a:xfrm rot="5400000">
              <a:off x="1621180" y="272439"/>
              <a:ext cx="0" cy="2300605"/>
            </a:xfrm>
            <a:prstGeom prst="line">
              <a:avLst/>
            </a:prstGeom>
            <a:ln w="254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Text Box 17">
              <a:extLst>
                <a:ext uri="{FF2B5EF4-FFF2-40B4-BE49-F238E27FC236}">
                  <a16:creationId xmlns:a16="http://schemas.microsoft.com/office/drawing/2014/main" id="{3DAB5C1E-C6FD-564D-ABC7-CE665E2371AC}"/>
                </a:ext>
              </a:extLst>
            </p:cNvPr>
            <p:cNvSpPr txBox="1"/>
            <p:nvPr/>
          </p:nvSpPr>
          <p:spPr>
            <a:xfrm>
              <a:off x="2757268" y="1223889"/>
              <a:ext cx="641350" cy="41021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High</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24" name="Text Box 25">
            <a:extLst>
              <a:ext uri="{FF2B5EF4-FFF2-40B4-BE49-F238E27FC236}">
                <a16:creationId xmlns:a16="http://schemas.microsoft.com/office/drawing/2014/main" id="{278BB77B-9B3C-F445-A1A9-3B045E041636}"/>
              </a:ext>
            </a:extLst>
          </p:cNvPr>
          <p:cNvSpPr txBox="1"/>
          <p:nvPr/>
        </p:nvSpPr>
        <p:spPr>
          <a:xfrm>
            <a:off x="5943458" y="4738567"/>
            <a:ext cx="2717655" cy="583565"/>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spcBef>
                <a:spcPts val="0"/>
              </a:spcBef>
              <a:spcAft>
                <a:spcPts val="0"/>
              </a:spcAft>
            </a:pPr>
            <a:r>
              <a:rPr lang="en-US" dirty="0">
                <a:ln>
                  <a:noFill/>
                </a:ln>
                <a:effectLst/>
                <a:latin typeface="Calibri" panose="020F0502020204030204" pitchFamily="34" charset="0"/>
                <a:ea typeface="Calibri" panose="020F0502020204030204" pitchFamily="34" charset="0"/>
                <a:cs typeface="Times New Roman" panose="02020603050405020304" pitchFamily="18" charset="0"/>
              </a:rPr>
              <a:t>Confidence in my skills</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8" name="5-Point Star 7">
            <a:extLst>
              <a:ext uri="{FF2B5EF4-FFF2-40B4-BE49-F238E27FC236}">
                <a16:creationId xmlns:a16="http://schemas.microsoft.com/office/drawing/2014/main" id="{1A2FF208-0921-264A-AFD4-8DFB7FCF6676}"/>
              </a:ext>
            </a:extLst>
          </p:cNvPr>
          <p:cNvSpPr/>
          <p:nvPr/>
        </p:nvSpPr>
        <p:spPr bwMode="auto">
          <a:xfrm>
            <a:off x="4212911" y="4452639"/>
            <a:ext cx="266623" cy="233302"/>
          </a:xfrm>
          <a:prstGeom prst="star5">
            <a:avLst/>
          </a:prstGeom>
          <a:solidFill>
            <a:schemeClr val="accent2"/>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6" name="5-Point Star 25">
            <a:extLst>
              <a:ext uri="{FF2B5EF4-FFF2-40B4-BE49-F238E27FC236}">
                <a16:creationId xmlns:a16="http://schemas.microsoft.com/office/drawing/2014/main" id="{6D888433-A890-B749-8146-399781163AC1}"/>
              </a:ext>
            </a:extLst>
          </p:cNvPr>
          <p:cNvSpPr/>
          <p:nvPr/>
        </p:nvSpPr>
        <p:spPr bwMode="auto">
          <a:xfrm>
            <a:off x="4656674" y="3731730"/>
            <a:ext cx="266623" cy="233302"/>
          </a:xfrm>
          <a:prstGeom prst="star5">
            <a:avLst/>
          </a:prstGeom>
          <a:solidFill>
            <a:schemeClr val="accent2"/>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nvGrpSpPr>
          <p:cNvPr id="28" name="Group 27">
            <a:extLst>
              <a:ext uri="{FF2B5EF4-FFF2-40B4-BE49-F238E27FC236}">
                <a16:creationId xmlns:a16="http://schemas.microsoft.com/office/drawing/2014/main" id="{31C24E0E-F1F5-2949-9C5C-6882C6DF49CA}"/>
              </a:ext>
            </a:extLst>
          </p:cNvPr>
          <p:cNvGrpSpPr/>
          <p:nvPr/>
        </p:nvGrpSpPr>
        <p:grpSpPr>
          <a:xfrm>
            <a:off x="4179678" y="3677262"/>
            <a:ext cx="624577" cy="705933"/>
            <a:chOff x="4179678" y="3677262"/>
            <a:chExt cx="624577" cy="705933"/>
          </a:xfrm>
        </p:grpSpPr>
        <p:cxnSp>
          <p:nvCxnSpPr>
            <p:cNvPr id="29" name="Straight Connector 28">
              <a:extLst>
                <a:ext uri="{FF2B5EF4-FFF2-40B4-BE49-F238E27FC236}">
                  <a16:creationId xmlns:a16="http://schemas.microsoft.com/office/drawing/2014/main" id="{E4AF0DC8-9E51-BB42-A84E-4EA8E12AA5DF}"/>
                </a:ext>
              </a:extLst>
            </p:cNvPr>
            <p:cNvCxnSpPr>
              <a:cxnSpLocks/>
            </p:cNvCxnSpPr>
            <p:nvPr/>
          </p:nvCxnSpPr>
          <p:spPr>
            <a:xfrm flipV="1">
              <a:off x="4467997" y="3856521"/>
              <a:ext cx="336258" cy="8332"/>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C0E9DD4-EAAC-9143-AD53-0BFF209661E2}"/>
                </a:ext>
              </a:extLst>
            </p:cNvPr>
            <p:cNvCxnSpPr>
              <a:cxnSpLocks/>
            </p:cNvCxnSpPr>
            <p:nvPr/>
          </p:nvCxnSpPr>
          <p:spPr>
            <a:xfrm flipV="1">
              <a:off x="4335948" y="3965032"/>
              <a:ext cx="0" cy="418163"/>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BF7A0C8-924E-2841-9489-781F6024B7EF}"/>
                </a:ext>
              </a:extLst>
            </p:cNvPr>
            <p:cNvSpPr txBox="1"/>
            <p:nvPr/>
          </p:nvSpPr>
          <p:spPr>
            <a:xfrm>
              <a:off x="4179678" y="3677262"/>
              <a:ext cx="338554" cy="369332"/>
            </a:xfrm>
            <a:prstGeom prst="rect">
              <a:avLst/>
            </a:prstGeom>
            <a:noFill/>
          </p:spPr>
          <p:txBody>
            <a:bodyPr wrap="none" rtlCol="0">
              <a:spAutoFit/>
            </a:bodyPr>
            <a:lstStyle/>
            <a:p>
              <a:r>
                <a:rPr lang="en-US" dirty="0"/>
                <a:t>A</a:t>
              </a:r>
            </a:p>
          </p:txBody>
        </p:sp>
      </p:grpSp>
    </p:spTree>
    <p:extLst>
      <p:ext uri="{BB962C8B-B14F-4D97-AF65-F5344CB8AC3E}">
        <p14:creationId xmlns:p14="http://schemas.microsoft.com/office/powerpoint/2010/main" val="624110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83"/>
        <p:cNvGrpSpPr/>
        <p:nvPr/>
      </p:nvGrpSpPr>
      <p:grpSpPr>
        <a:xfrm>
          <a:off x="0" y="0"/>
          <a:ext cx="0" cy="0"/>
          <a:chOff x="0" y="0"/>
          <a:chExt cx="0" cy="0"/>
        </a:xfrm>
      </p:grpSpPr>
      <p:sp>
        <p:nvSpPr>
          <p:cNvPr id="184" name="Google Shape;184;p27"/>
          <p:cNvSpPr txBox="1">
            <a:spLocks noGrp="1"/>
          </p:cNvSpPr>
          <p:nvPr>
            <p:ph type="title"/>
          </p:nvPr>
        </p:nvSpPr>
        <p:spPr>
          <a:prstGeom prst="rect">
            <a:avLst/>
          </a:prstGeom>
        </p:spPr>
        <p:txBody>
          <a:bodyPr spcFirstLastPara="1" vert="horz" wrap="square" lIns="91425" tIns="91425" rIns="91425" bIns="91425" rtlCol="0" anchor="b" anchorCtr="0">
            <a:noAutofit/>
          </a:bodyPr>
          <a:lstStyle/>
          <a:p>
            <a:r>
              <a:rPr lang="en"/>
              <a:t>Mapping your data science landscape</a:t>
            </a:r>
            <a:endParaRPr/>
          </a:p>
        </p:txBody>
      </p:sp>
      <p:sp>
        <p:nvSpPr>
          <p:cNvPr id="185" name="Google Shape;185;p27"/>
          <p:cNvSpPr txBox="1">
            <a:spLocks noGrp="1"/>
          </p:cNvSpPr>
          <p:nvPr>
            <p:ph idx="1"/>
          </p:nvPr>
        </p:nvSpPr>
        <p:spPr>
          <a:prstGeom prst="rect">
            <a:avLst/>
          </a:prstGeom>
        </p:spPr>
        <p:txBody>
          <a:bodyPr spcFirstLastPara="1" vert="horz" wrap="square" lIns="91425" tIns="91425" rIns="91425" bIns="91425" rtlCol="0" anchor="t" anchorCtr="0">
            <a:noAutofit/>
          </a:bodyPr>
          <a:lstStyle/>
          <a:p>
            <a:pPr marL="0" indent="0">
              <a:buNone/>
            </a:pPr>
            <a:r>
              <a:rPr lang="en" dirty="0"/>
              <a:t>Work on your maps individually (3 mins)</a:t>
            </a:r>
            <a:endParaRPr dirty="0"/>
          </a:p>
          <a:p>
            <a:pPr marL="0" indent="0">
              <a:spcBef>
                <a:spcPts val="1600"/>
              </a:spcBef>
              <a:spcAft>
                <a:spcPts val="1600"/>
              </a:spcAft>
              <a:buNone/>
            </a:pPr>
            <a:r>
              <a:rPr lang="en" dirty="0"/>
              <a:t>Quick group debrief (2 mins)</a:t>
            </a:r>
            <a:endParaRPr dirty="0"/>
          </a:p>
        </p:txBody>
      </p:sp>
    </p:spTree>
    <p:extLst>
      <p:ext uri="{BB962C8B-B14F-4D97-AF65-F5344CB8AC3E}">
        <p14:creationId xmlns:p14="http://schemas.microsoft.com/office/powerpoint/2010/main" val="41694015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7"/>
        <p:cNvGrpSpPr/>
        <p:nvPr/>
      </p:nvGrpSpPr>
      <p:grpSpPr>
        <a:xfrm>
          <a:off x="0" y="0"/>
          <a:ext cx="0" cy="0"/>
          <a:chOff x="0" y="0"/>
          <a:chExt cx="0" cy="0"/>
        </a:xfrm>
      </p:grpSpPr>
      <p:pic>
        <p:nvPicPr>
          <p:cNvPr id="98" name="Google Shape;98;p17"/>
          <p:cNvPicPr preferRelativeResize="0"/>
          <p:nvPr/>
        </p:nvPicPr>
        <p:blipFill>
          <a:blip r:embed="rId3">
            <a:alphaModFix/>
          </a:blip>
          <a:stretch>
            <a:fillRect/>
          </a:stretch>
        </p:blipFill>
        <p:spPr>
          <a:xfrm>
            <a:off x="471055" y="966995"/>
            <a:ext cx="5169475" cy="4782000"/>
          </a:xfrm>
          <a:prstGeom prst="rect">
            <a:avLst/>
          </a:prstGeom>
          <a:noFill/>
          <a:ln>
            <a:solidFill>
              <a:srgbClr val="000000"/>
            </a:solidFill>
          </a:ln>
        </p:spPr>
      </p:pic>
      <p:sp>
        <p:nvSpPr>
          <p:cNvPr id="99" name="Google Shape;99;p17"/>
          <p:cNvSpPr txBox="1"/>
          <p:nvPr/>
        </p:nvSpPr>
        <p:spPr>
          <a:xfrm>
            <a:off x="56950" y="5639250"/>
            <a:ext cx="5112600" cy="361500"/>
          </a:xfrm>
          <a:prstGeom prst="rect">
            <a:avLst/>
          </a:prstGeom>
          <a:noFill/>
          <a:ln>
            <a:noFill/>
          </a:ln>
        </p:spPr>
        <p:txBody>
          <a:bodyPr spcFirstLastPara="1" wrap="square" lIns="91425" tIns="91425" rIns="91425" bIns="91425" anchor="t" anchorCtr="0">
            <a:noAutofit/>
          </a:bodyPr>
          <a:lstStyle/>
          <a:p>
            <a:r>
              <a:rPr lang="en" sz="1100">
                <a:solidFill>
                  <a:srgbClr val="FFFFFF"/>
                </a:solidFill>
                <a:latin typeface="Lato"/>
                <a:ea typeface="Lato"/>
                <a:cs typeface="Lato"/>
                <a:sym typeface="Lato"/>
              </a:rPr>
              <a:t>https://hbr.org/2012/10/data-scientist-the-sexiest-job-of-the-21st-century</a:t>
            </a:r>
            <a:endParaRPr sz="1100">
              <a:solidFill>
                <a:srgbClr val="FFFFFF"/>
              </a:solidFill>
              <a:latin typeface="Lato"/>
              <a:ea typeface="Lato"/>
              <a:cs typeface="Lato"/>
              <a:sym typeface="Lato"/>
            </a:endParaRPr>
          </a:p>
        </p:txBody>
      </p:sp>
      <p:sp>
        <p:nvSpPr>
          <p:cNvPr id="100" name="Google Shape;100;p17"/>
          <p:cNvSpPr txBox="1">
            <a:spLocks noGrp="1"/>
          </p:cNvSpPr>
          <p:nvPr>
            <p:ph type="body" idx="4294967295"/>
          </p:nvPr>
        </p:nvSpPr>
        <p:spPr>
          <a:xfrm>
            <a:off x="5507175" y="1581450"/>
            <a:ext cx="3402900" cy="3695100"/>
          </a:xfrm>
          <a:prstGeom prst="rect">
            <a:avLst/>
          </a:prstGeom>
        </p:spPr>
        <p:txBody>
          <a:bodyPr spcFirstLastPara="1" vert="horz" wrap="square" lIns="91425" tIns="91425" rIns="91425" bIns="91425" rtlCol="0" anchor="t" anchorCtr="0">
            <a:noAutofit/>
          </a:bodyPr>
          <a:lstStyle/>
          <a:p>
            <a:pPr marL="0" indent="0" algn="ctr">
              <a:spcBef>
                <a:spcPts val="1600"/>
              </a:spcBef>
              <a:spcAft>
                <a:spcPts val="0"/>
              </a:spcAft>
              <a:buNone/>
            </a:pPr>
            <a:endParaRPr lang="en" sz="3500" dirty="0">
              <a:latin typeface="Roboto Slab"/>
              <a:ea typeface="Roboto Slab"/>
              <a:cs typeface="Roboto Slab"/>
              <a:sym typeface="Roboto Slab"/>
            </a:endParaRPr>
          </a:p>
          <a:p>
            <a:pPr marL="0" indent="0" algn="ctr">
              <a:spcBef>
                <a:spcPts val="1600"/>
              </a:spcBef>
              <a:spcAft>
                <a:spcPts val="0"/>
              </a:spcAft>
              <a:buNone/>
            </a:pPr>
            <a:r>
              <a:rPr lang="en" sz="3500" dirty="0">
                <a:latin typeface="Roboto Slab"/>
                <a:ea typeface="Roboto Slab"/>
                <a:cs typeface="Roboto Slab"/>
                <a:sym typeface="Roboto Slab"/>
              </a:rPr>
              <a:t>But what is </a:t>
            </a:r>
            <a:br>
              <a:rPr lang="en" sz="3500" dirty="0">
                <a:latin typeface="Roboto Slab"/>
                <a:ea typeface="Roboto Slab"/>
                <a:cs typeface="Roboto Slab"/>
                <a:sym typeface="Roboto Slab"/>
              </a:rPr>
            </a:br>
            <a:r>
              <a:rPr lang="en" sz="3500" dirty="0">
                <a:latin typeface="Roboto Slab"/>
                <a:ea typeface="Roboto Slab"/>
                <a:cs typeface="Roboto Slab"/>
                <a:sym typeface="Roboto Slab"/>
              </a:rPr>
              <a:t>data science</a:t>
            </a:r>
            <a:endParaRPr sz="3500" dirty="0">
              <a:latin typeface="Roboto Slab"/>
              <a:ea typeface="Roboto Slab"/>
              <a:cs typeface="Roboto Slab"/>
              <a:sym typeface="Roboto Slab"/>
            </a:endParaRPr>
          </a:p>
          <a:p>
            <a:pPr marL="0" indent="0" algn="ctr">
              <a:spcBef>
                <a:spcPts val="1600"/>
              </a:spcBef>
              <a:spcAft>
                <a:spcPts val="1600"/>
              </a:spcAft>
              <a:buNone/>
            </a:pPr>
            <a:r>
              <a:rPr lang="en" sz="4000" b="1" dirty="0">
                <a:latin typeface="Roboto Slab"/>
                <a:ea typeface="Roboto Slab"/>
                <a:cs typeface="Roboto Slab"/>
                <a:sym typeface="Roboto Slab"/>
              </a:rPr>
              <a:t>?</a:t>
            </a:r>
            <a:endParaRPr sz="4000" b="1" dirty="0">
              <a:latin typeface="Roboto Slab"/>
              <a:ea typeface="Roboto Slab"/>
              <a:cs typeface="Roboto Slab"/>
              <a:sym typeface="Roboto Slab"/>
            </a:endParaRPr>
          </a:p>
        </p:txBody>
      </p:sp>
    </p:spTree>
    <p:extLst>
      <p:ext uri="{BB962C8B-B14F-4D97-AF65-F5344CB8AC3E}">
        <p14:creationId xmlns:p14="http://schemas.microsoft.com/office/powerpoint/2010/main" val="13623786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fade">
                                      <p:cBhvr>
                                        <p:cTn id="7" dur="1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12"/>
        <p:cNvGrpSpPr/>
        <p:nvPr/>
      </p:nvGrpSpPr>
      <p:grpSpPr>
        <a:xfrm>
          <a:off x="0" y="0"/>
          <a:ext cx="0" cy="0"/>
          <a:chOff x="0" y="0"/>
          <a:chExt cx="0" cy="0"/>
        </a:xfrm>
      </p:grpSpPr>
      <p:pic>
        <p:nvPicPr>
          <p:cNvPr id="115" name="Google Shape;115;p19"/>
          <p:cNvPicPr preferRelativeResize="0"/>
          <p:nvPr/>
        </p:nvPicPr>
        <p:blipFill>
          <a:blip r:embed="rId3">
            <a:alphaModFix/>
          </a:blip>
          <a:stretch>
            <a:fillRect/>
          </a:stretch>
        </p:blipFill>
        <p:spPr>
          <a:xfrm>
            <a:off x="3448050" y="781051"/>
            <a:ext cx="5695953" cy="5226150"/>
          </a:xfrm>
          <a:prstGeom prst="rect">
            <a:avLst/>
          </a:prstGeom>
          <a:noFill/>
          <a:ln>
            <a:noFill/>
          </a:ln>
        </p:spPr>
      </p:pic>
      <p:sp>
        <p:nvSpPr>
          <p:cNvPr id="116" name="Google Shape;116;p19"/>
          <p:cNvSpPr txBox="1">
            <a:spLocks noGrp="1"/>
          </p:cNvSpPr>
          <p:nvPr>
            <p:ph type="title"/>
          </p:nvPr>
        </p:nvSpPr>
        <p:spPr>
          <a:xfrm>
            <a:off x="466343" y="246198"/>
            <a:ext cx="6637189" cy="963324"/>
          </a:xfrm>
          <a:prstGeom prst="rect">
            <a:avLst/>
          </a:prstGeom>
        </p:spPr>
        <p:txBody>
          <a:bodyPr spcFirstLastPara="1" vert="horz" wrap="square" lIns="91425" tIns="91425" rIns="91425" bIns="91425" rtlCol="0" anchor="b" anchorCtr="0">
            <a:noAutofit/>
          </a:bodyPr>
          <a:lstStyle/>
          <a:p>
            <a:r>
              <a:rPr lang="en" dirty="0"/>
              <a:t>Drew Conway2010</a:t>
            </a:r>
            <a:endParaRPr dirty="0"/>
          </a:p>
        </p:txBody>
      </p:sp>
      <p:sp>
        <p:nvSpPr>
          <p:cNvPr id="113" name="Google Shape;113;p19"/>
          <p:cNvSpPr txBox="1">
            <a:spLocks noGrp="1"/>
          </p:cNvSpPr>
          <p:nvPr>
            <p:ph idx="1"/>
          </p:nvPr>
        </p:nvSpPr>
        <p:spPr>
          <a:prstGeom prst="rect">
            <a:avLst/>
          </a:prstGeom>
        </p:spPr>
        <p:txBody>
          <a:bodyPr spcFirstLastPara="1" vert="horz" wrap="square" lIns="91425" tIns="91425" rIns="91425" bIns="91425" rtlCol="0" anchor="t" anchorCtr="0">
            <a:noAutofit/>
          </a:bodyPr>
          <a:lstStyle/>
          <a:p>
            <a:pPr marL="0" indent="0" algn="ctr">
              <a:spcAft>
                <a:spcPts val="1000"/>
              </a:spcAft>
              <a:buNone/>
            </a:pPr>
            <a:r>
              <a:rPr lang="en" sz="700" b="1" dirty="0">
                <a:solidFill>
                  <a:schemeClr val="lt1"/>
                </a:solidFill>
              </a:rPr>
              <a:t>1</a:t>
            </a:r>
            <a:endParaRPr sz="700" b="1" dirty="0">
              <a:solidFill>
                <a:schemeClr val="lt1"/>
              </a:solidFill>
            </a:endParaRPr>
          </a:p>
        </p:txBody>
      </p:sp>
      <p:sp>
        <p:nvSpPr>
          <p:cNvPr id="114" name="Google Shape;114;p19"/>
          <p:cNvSpPr txBox="1">
            <a:spLocks noGrp="1"/>
          </p:cNvSpPr>
          <p:nvPr>
            <p:ph type="subTitle" idx="4294967295"/>
          </p:nvPr>
        </p:nvSpPr>
        <p:spPr>
          <a:xfrm>
            <a:off x="484525" y="1319657"/>
            <a:ext cx="3300413" cy="4687544"/>
          </a:xfrm>
          <a:prstGeom prst="rect">
            <a:avLst/>
          </a:prstGeom>
        </p:spPr>
        <p:txBody>
          <a:bodyPr spcFirstLastPara="1" vert="horz" wrap="square" lIns="91425" tIns="91425" rIns="91425" bIns="91425" rtlCol="0" anchor="t" anchorCtr="0">
            <a:noAutofit/>
          </a:bodyPr>
          <a:lstStyle/>
          <a:p>
            <a:pPr marL="0" indent="0">
              <a:lnSpc>
                <a:spcPct val="115000"/>
              </a:lnSpc>
              <a:spcBef>
                <a:spcPts val="0"/>
              </a:spcBef>
              <a:spcAft>
                <a:spcPts val="0"/>
              </a:spcAft>
              <a:buNone/>
            </a:pPr>
            <a:r>
              <a:rPr lang="en" dirty="0"/>
              <a:t>His goal was to define data science at a high level to avoid discussing particular tools or platforms.</a:t>
            </a:r>
            <a:endParaRPr dirty="0"/>
          </a:p>
          <a:p>
            <a:pPr marL="0" indent="0">
              <a:lnSpc>
                <a:spcPct val="115000"/>
              </a:lnSpc>
              <a:spcBef>
                <a:spcPts val="1000"/>
              </a:spcBef>
              <a:spcAft>
                <a:spcPts val="0"/>
              </a:spcAft>
              <a:buNone/>
            </a:pPr>
            <a:endParaRPr lang="en" sz="1400" dirty="0">
              <a:hlinkClick r:id="rId4"/>
            </a:endParaRPr>
          </a:p>
          <a:p>
            <a:pPr marL="0" indent="0">
              <a:lnSpc>
                <a:spcPct val="115000"/>
              </a:lnSpc>
              <a:spcBef>
                <a:spcPts val="1000"/>
              </a:spcBef>
              <a:spcAft>
                <a:spcPts val="0"/>
              </a:spcAft>
              <a:buNone/>
            </a:pPr>
            <a:br>
              <a:rPr lang="en" sz="1400" dirty="0">
                <a:hlinkClick r:id="rId4"/>
              </a:rPr>
            </a:br>
            <a:r>
              <a:rPr lang="en" sz="1400" dirty="0">
                <a:hlinkClick r:id="rId4"/>
              </a:rPr>
              <a:t>http://drewconway.com/zia/2013/3/26/the-data-science-venn-diagram</a:t>
            </a:r>
            <a:r>
              <a:rPr lang="en" sz="1400" dirty="0"/>
              <a:t> </a:t>
            </a:r>
            <a:endParaRPr sz="1400" dirty="0"/>
          </a:p>
          <a:p>
            <a:pPr marL="0" indent="0">
              <a:lnSpc>
                <a:spcPct val="115000"/>
              </a:lnSpc>
              <a:spcBef>
                <a:spcPts val="1000"/>
              </a:spcBef>
              <a:spcAft>
                <a:spcPts val="0"/>
              </a:spcAft>
              <a:buNone/>
            </a:pPr>
            <a:r>
              <a:rPr lang="en" sz="1400" dirty="0"/>
              <a:t>Battle of the Data Science Venn Diagrams</a:t>
            </a:r>
            <a:endParaRPr sz="1400" dirty="0"/>
          </a:p>
          <a:p>
            <a:pPr marL="0" indent="0">
              <a:lnSpc>
                <a:spcPct val="115000"/>
              </a:lnSpc>
              <a:spcBef>
                <a:spcPts val="1000"/>
              </a:spcBef>
              <a:spcAft>
                <a:spcPts val="1000"/>
              </a:spcAft>
              <a:buNone/>
            </a:pPr>
            <a:r>
              <a:rPr lang="en" sz="1400" dirty="0">
                <a:hlinkClick r:id="rId5"/>
              </a:rPr>
              <a:t>https://www.kdnuggets.com/2016/10/battle-data-science-venn-diagrams.html</a:t>
            </a:r>
            <a:r>
              <a:rPr lang="en" sz="1400" dirty="0"/>
              <a:t> </a:t>
            </a:r>
            <a:endParaRPr sz="1400" dirty="0"/>
          </a:p>
        </p:txBody>
      </p:sp>
    </p:spTree>
    <p:extLst>
      <p:ext uri="{BB962C8B-B14F-4D97-AF65-F5344CB8AC3E}">
        <p14:creationId xmlns:p14="http://schemas.microsoft.com/office/powerpoint/2010/main" val="1119712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10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20"/>
        <p:cNvGrpSpPr/>
        <p:nvPr/>
      </p:nvGrpSpPr>
      <p:grpSpPr>
        <a:xfrm>
          <a:off x="0" y="0"/>
          <a:ext cx="0" cy="0"/>
          <a:chOff x="0" y="0"/>
          <a:chExt cx="0" cy="0"/>
        </a:xfrm>
      </p:grpSpPr>
      <p:sp>
        <p:nvSpPr>
          <p:cNvPr id="121" name="Google Shape;121;p20"/>
          <p:cNvSpPr txBox="1">
            <a:spLocks noGrp="1"/>
          </p:cNvSpPr>
          <p:nvPr>
            <p:ph type="title"/>
          </p:nvPr>
        </p:nvSpPr>
        <p:spPr>
          <a:xfrm>
            <a:off x="466344" y="266080"/>
            <a:ext cx="6637189" cy="963324"/>
          </a:xfrm>
          <a:prstGeom prst="rect">
            <a:avLst/>
          </a:prstGeom>
        </p:spPr>
        <p:txBody>
          <a:bodyPr spcFirstLastPara="1" vert="horz" wrap="square" lIns="91425" tIns="91425" rIns="91425" bIns="91425" rtlCol="0" anchor="b" anchorCtr="0">
            <a:noAutofit/>
          </a:bodyPr>
          <a:lstStyle/>
          <a:p>
            <a:r>
              <a:rPr lang="en" dirty="0"/>
              <a:t>Steven </a:t>
            </a:r>
            <a:r>
              <a:rPr lang="en" dirty="0" err="1"/>
              <a:t>Geringer</a:t>
            </a:r>
            <a:r>
              <a:rPr lang="en" dirty="0"/>
              <a:t> 2014</a:t>
            </a:r>
            <a:endParaRPr dirty="0"/>
          </a:p>
        </p:txBody>
      </p:sp>
      <p:sp>
        <p:nvSpPr>
          <p:cNvPr id="123" name="Google Shape;123;p20"/>
          <p:cNvSpPr txBox="1">
            <a:spLocks noGrp="1"/>
          </p:cNvSpPr>
          <p:nvPr>
            <p:ph idx="1"/>
          </p:nvPr>
        </p:nvSpPr>
        <p:spPr>
          <a:xfrm>
            <a:off x="466344" y="1481328"/>
            <a:ext cx="2886456" cy="4636008"/>
          </a:xfrm>
          <a:prstGeom prst="rect">
            <a:avLst/>
          </a:prstGeom>
        </p:spPr>
        <p:txBody>
          <a:bodyPr spcFirstLastPara="1" vert="horz" wrap="square" lIns="91425" tIns="91425" rIns="91425" bIns="91425" rtlCol="0" anchor="t" anchorCtr="0">
            <a:noAutofit/>
          </a:bodyPr>
          <a:lstStyle/>
          <a:p>
            <a:pPr marL="0" indent="0">
              <a:buNone/>
            </a:pPr>
            <a:r>
              <a:rPr lang="en" dirty="0"/>
              <a:t>The intersection is described as a </a:t>
            </a:r>
            <a:r>
              <a:rPr lang="en" b="1" dirty="0"/>
              <a:t>Unicorn</a:t>
            </a:r>
            <a:r>
              <a:rPr lang="en" dirty="0"/>
              <a:t> </a:t>
            </a:r>
            <a:endParaRPr dirty="0"/>
          </a:p>
          <a:p>
            <a:pPr marL="0" indent="0">
              <a:spcBef>
                <a:spcPts val="1600"/>
              </a:spcBef>
              <a:spcAft>
                <a:spcPts val="1600"/>
              </a:spcAft>
              <a:buNone/>
            </a:pPr>
            <a:r>
              <a:rPr lang="en" dirty="0"/>
              <a:t>Unicorn - a mythical beast with magical powers who's rumored to exist but is never actually seen in the wild. </a:t>
            </a:r>
            <a:endParaRPr dirty="0"/>
          </a:p>
        </p:txBody>
      </p:sp>
      <p:pic>
        <p:nvPicPr>
          <p:cNvPr id="122" name="Google Shape;122;p20"/>
          <p:cNvPicPr preferRelativeResize="0"/>
          <p:nvPr/>
        </p:nvPicPr>
        <p:blipFill rotWithShape="1">
          <a:blip r:embed="rId3">
            <a:alphaModFix/>
          </a:blip>
          <a:srcRect l="5724" r="6463"/>
          <a:stretch/>
        </p:blipFill>
        <p:spPr>
          <a:xfrm>
            <a:off x="3352800" y="1229404"/>
            <a:ext cx="5353050" cy="4562475"/>
          </a:xfrm>
          <a:prstGeom prst="rect">
            <a:avLst/>
          </a:prstGeom>
          <a:noFill/>
          <a:ln>
            <a:noFill/>
          </a:ln>
        </p:spPr>
      </p:pic>
      <p:sp>
        <p:nvSpPr>
          <p:cNvPr id="124" name="Google Shape;124;p20"/>
          <p:cNvSpPr txBox="1"/>
          <p:nvPr/>
        </p:nvSpPr>
        <p:spPr>
          <a:xfrm>
            <a:off x="704850" y="5757208"/>
            <a:ext cx="8001000" cy="394800"/>
          </a:xfrm>
          <a:prstGeom prst="rect">
            <a:avLst/>
          </a:prstGeom>
          <a:noFill/>
          <a:ln>
            <a:noFill/>
          </a:ln>
        </p:spPr>
        <p:txBody>
          <a:bodyPr spcFirstLastPara="1" wrap="square" lIns="91425" tIns="91425" rIns="91425" bIns="91425" anchor="t" anchorCtr="0">
            <a:noAutofit/>
          </a:bodyPr>
          <a:lstStyle/>
          <a:p>
            <a:pPr algn="r"/>
            <a:r>
              <a:rPr lang="en" dirty="0">
                <a:solidFill>
                  <a:srgbClr val="000000"/>
                </a:solidFill>
                <a:latin typeface="Roboto"/>
                <a:ea typeface="Roboto"/>
                <a:cs typeface="Roboto"/>
                <a:sym typeface="Roboto"/>
              </a:rPr>
              <a:t>http://</a:t>
            </a:r>
            <a:r>
              <a:rPr lang="en" dirty="0" err="1">
                <a:solidFill>
                  <a:srgbClr val="000000"/>
                </a:solidFill>
                <a:latin typeface="Roboto"/>
                <a:ea typeface="Roboto"/>
                <a:cs typeface="Roboto"/>
                <a:sym typeface="Roboto"/>
              </a:rPr>
              <a:t>www.anlytcs.com</a:t>
            </a:r>
            <a:r>
              <a:rPr lang="en" dirty="0">
                <a:solidFill>
                  <a:srgbClr val="000000"/>
                </a:solidFill>
                <a:latin typeface="Roboto"/>
                <a:ea typeface="Roboto"/>
                <a:cs typeface="Roboto"/>
                <a:sym typeface="Roboto"/>
              </a:rPr>
              <a:t>/2014/01/data-science-venn-diagram-v20.html</a:t>
            </a:r>
            <a:endParaRPr dirty="0">
              <a:solidFill>
                <a:srgbClr val="000000"/>
              </a:solidFill>
              <a:latin typeface="Roboto"/>
              <a:ea typeface="Roboto"/>
              <a:cs typeface="Roboto"/>
              <a:sym typeface="Roboto"/>
            </a:endParaRPr>
          </a:p>
        </p:txBody>
      </p:sp>
    </p:spTree>
    <p:extLst>
      <p:ext uri="{BB962C8B-B14F-4D97-AF65-F5344CB8AC3E}">
        <p14:creationId xmlns:p14="http://schemas.microsoft.com/office/powerpoint/2010/main" val="1697461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28"/>
        <p:cNvGrpSpPr/>
        <p:nvPr/>
      </p:nvGrpSpPr>
      <p:grpSpPr>
        <a:xfrm>
          <a:off x="0" y="0"/>
          <a:ext cx="0" cy="0"/>
          <a:chOff x="0" y="0"/>
          <a:chExt cx="0" cy="0"/>
        </a:xfrm>
      </p:grpSpPr>
      <p:sp>
        <p:nvSpPr>
          <p:cNvPr id="129" name="Google Shape;129;p21"/>
          <p:cNvSpPr txBox="1">
            <a:spLocks noGrp="1"/>
          </p:cNvSpPr>
          <p:nvPr>
            <p:ph type="body" idx="1"/>
          </p:nvPr>
        </p:nvSpPr>
        <p:spPr>
          <a:xfrm>
            <a:off x="362496" y="5695950"/>
            <a:ext cx="8875500" cy="598800"/>
          </a:xfrm>
          <a:prstGeom prst="rect">
            <a:avLst/>
          </a:prstGeom>
        </p:spPr>
        <p:txBody>
          <a:bodyPr spcFirstLastPara="1" vert="horz" wrap="square" lIns="91425" tIns="91425" rIns="91425" bIns="91425" rtlCol="0" anchor="ctr" anchorCtr="0">
            <a:noAutofit/>
          </a:bodyPr>
          <a:lstStyle/>
          <a:p>
            <a:pPr marL="0" indent="0"/>
            <a:r>
              <a:rPr lang="en" sz="1400" dirty="0">
                <a:latin typeface="Roboto"/>
                <a:ea typeface="Roboto"/>
                <a:cs typeface="Roboto"/>
                <a:sym typeface="Roboto"/>
              </a:rPr>
              <a:t>https://www8.nationalacademies.org/pa/</a:t>
            </a:r>
            <a:r>
              <a:rPr lang="en" sz="1400" dirty="0" err="1">
                <a:latin typeface="Roboto"/>
                <a:ea typeface="Roboto"/>
                <a:cs typeface="Roboto"/>
                <a:sym typeface="Roboto"/>
              </a:rPr>
              <a:t>projectview.aspx?key</a:t>
            </a:r>
            <a:r>
              <a:rPr lang="en" sz="1400" dirty="0">
                <a:latin typeface="Roboto"/>
                <a:ea typeface="Roboto"/>
                <a:cs typeface="Roboto"/>
                <a:sym typeface="Roboto"/>
              </a:rPr>
              <a:t>=49822</a:t>
            </a:r>
            <a:endParaRPr sz="1400" dirty="0">
              <a:latin typeface="Roboto"/>
              <a:ea typeface="Roboto"/>
              <a:cs typeface="Roboto"/>
              <a:sym typeface="Roboto"/>
            </a:endParaRPr>
          </a:p>
          <a:p>
            <a:pPr marL="0" indent="0"/>
            <a:r>
              <a:rPr lang="en" sz="1400" dirty="0">
                <a:latin typeface="Roboto"/>
                <a:ea typeface="Roboto"/>
                <a:cs typeface="Roboto"/>
                <a:sym typeface="Roboto"/>
              </a:rPr>
              <a:t>https://</a:t>
            </a:r>
            <a:r>
              <a:rPr lang="en" sz="1400" dirty="0" err="1">
                <a:latin typeface="Roboto"/>
                <a:ea typeface="Roboto"/>
                <a:cs typeface="Roboto"/>
                <a:sym typeface="Roboto"/>
              </a:rPr>
              <a:t>www.nap.edu</a:t>
            </a:r>
            <a:r>
              <a:rPr lang="en" sz="1400" dirty="0">
                <a:latin typeface="Roboto"/>
                <a:ea typeface="Roboto"/>
                <a:cs typeface="Roboto"/>
                <a:sym typeface="Roboto"/>
              </a:rPr>
              <a:t>/catalog/25104/data-science-for-undergraduates-opportunities-and-options</a:t>
            </a:r>
            <a:endParaRPr sz="1400" dirty="0">
              <a:latin typeface="Roboto"/>
              <a:ea typeface="Roboto"/>
              <a:cs typeface="Roboto"/>
              <a:sym typeface="Roboto"/>
            </a:endParaRPr>
          </a:p>
        </p:txBody>
      </p:sp>
      <p:pic>
        <p:nvPicPr>
          <p:cNvPr id="130" name="Google Shape;130;p21"/>
          <p:cNvPicPr preferRelativeResize="0"/>
          <p:nvPr/>
        </p:nvPicPr>
        <p:blipFill>
          <a:blip r:embed="rId3">
            <a:alphaModFix/>
          </a:blip>
          <a:stretch>
            <a:fillRect/>
          </a:stretch>
        </p:blipFill>
        <p:spPr>
          <a:xfrm>
            <a:off x="467271" y="508088"/>
            <a:ext cx="3999954" cy="5187862"/>
          </a:xfrm>
          <a:prstGeom prst="rect">
            <a:avLst/>
          </a:prstGeom>
          <a:noFill/>
          <a:ln>
            <a:solidFill>
              <a:srgbClr val="000000"/>
            </a:solidFill>
          </a:ln>
        </p:spPr>
      </p:pic>
      <p:sp>
        <p:nvSpPr>
          <p:cNvPr id="132" name="Google Shape;132;p21"/>
          <p:cNvSpPr txBox="1">
            <a:spLocks noGrp="1"/>
          </p:cNvSpPr>
          <p:nvPr>
            <p:ph type="body" idx="1"/>
          </p:nvPr>
        </p:nvSpPr>
        <p:spPr>
          <a:xfrm>
            <a:off x="4572000" y="508089"/>
            <a:ext cx="4209504" cy="5626012"/>
          </a:xfrm>
          <a:prstGeom prst="rect">
            <a:avLst/>
          </a:prstGeom>
        </p:spPr>
        <p:txBody>
          <a:bodyPr spcFirstLastPara="1" vert="horz" wrap="square" lIns="91425" tIns="91425" rIns="91425" bIns="91425" rtlCol="0" anchor="ctr" anchorCtr="0">
            <a:noAutofit/>
          </a:bodyPr>
          <a:lstStyle/>
          <a:p>
            <a:pPr marL="0" indent="0"/>
            <a:r>
              <a:rPr lang="en" sz="2000" dirty="0">
                <a:latin typeface="Roboto"/>
                <a:ea typeface="Roboto"/>
                <a:cs typeface="Roboto"/>
                <a:sym typeface="Roboto"/>
              </a:rPr>
              <a:t>Finding 2.3: A critical task in the education of future data scientists is to instill </a:t>
            </a:r>
            <a:r>
              <a:rPr lang="en" sz="2000" b="1" dirty="0">
                <a:latin typeface="Roboto"/>
                <a:ea typeface="Roboto"/>
                <a:cs typeface="Roboto"/>
                <a:sym typeface="Roboto"/>
              </a:rPr>
              <a:t>data acumen</a:t>
            </a:r>
            <a:r>
              <a:rPr lang="en" sz="2000" dirty="0">
                <a:latin typeface="Roboto"/>
                <a:ea typeface="Roboto"/>
                <a:cs typeface="Roboto"/>
                <a:sym typeface="Roboto"/>
              </a:rPr>
              <a:t>. This requires exposure to key concepts in data science, real-world data and problems that can reinforce the limitations of tools, and ethical considerations that permeate many applications.</a:t>
            </a:r>
          </a:p>
          <a:p>
            <a:pPr marL="0" indent="0"/>
            <a:endParaRPr lang="en" sz="2000" dirty="0">
              <a:latin typeface="Roboto"/>
              <a:ea typeface="Roboto"/>
              <a:cs typeface="Roboto"/>
              <a:sym typeface="Roboto"/>
            </a:endParaRPr>
          </a:p>
          <a:p>
            <a:pPr marL="0" indent="0"/>
            <a:r>
              <a:rPr lang="en-US" sz="3200" dirty="0" err="1">
                <a:latin typeface="Roboto"/>
                <a:ea typeface="Roboto"/>
                <a:cs typeface="Roboto"/>
                <a:sym typeface="Roboto"/>
              </a:rPr>
              <a:t>a·cu·men</a:t>
            </a:r>
            <a:endParaRPr lang="en-US" sz="3200" dirty="0">
              <a:latin typeface="Roboto"/>
              <a:ea typeface="Roboto"/>
              <a:cs typeface="Roboto"/>
              <a:sym typeface="Roboto"/>
            </a:endParaRPr>
          </a:p>
          <a:p>
            <a:pPr marL="0" indent="0"/>
            <a:r>
              <a:rPr lang="en-US" sz="1800" dirty="0">
                <a:latin typeface="Roboto"/>
                <a:ea typeface="Roboto"/>
                <a:cs typeface="Roboto"/>
                <a:sym typeface="Roboto"/>
              </a:rPr>
              <a:t>/</a:t>
            </a:r>
            <a:r>
              <a:rPr lang="en-US" sz="1800" dirty="0" err="1">
                <a:latin typeface="Roboto"/>
                <a:ea typeface="Roboto"/>
                <a:cs typeface="Roboto"/>
                <a:sym typeface="Roboto"/>
              </a:rPr>
              <a:t>əˈkyo͞omən</a:t>
            </a:r>
            <a:r>
              <a:rPr lang="en-US" sz="1800" dirty="0">
                <a:latin typeface="Roboto"/>
                <a:ea typeface="Roboto"/>
                <a:cs typeface="Roboto"/>
                <a:sym typeface="Roboto"/>
              </a:rPr>
              <a:t>,ˈ</a:t>
            </a:r>
            <a:r>
              <a:rPr lang="en-US" sz="1800" dirty="0" err="1">
                <a:latin typeface="Roboto"/>
                <a:ea typeface="Roboto"/>
                <a:cs typeface="Roboto"/>
                <a:sym typeface="Roboto"/>
              </a:rPr>
              <a:t>akyəmən</a:t>
            </a:r>
            <a:r>
              <a:rPr lang="en-US" sz="1800" dirty="0">
                <a:latin typeface="Roboto"/>
                <a:ea typeface="Roboto"/>
                <a:cs typeface="Roboto"/>
                <a:sym typeface="Roboto"/>
              </a:rPr>
              <a:t>/</a:t>
            </a:r>
          </a:p>
          <a:p>
            <a:pPr marL="0" indent="0"/>
            <a:endParaRPr lang="en-US" sz="1800" dirty="0">
              <a:latin typeface="Roboto"/>
              <a:ea typeface="Roboto"/>
              <a:cs typeface="Roboto"/>
              <a:sym typeface="Roboto"/>
            </a:endParaRPr>
          </a:p>
          <a:p>
            <a:pPr marL="0" indent="0"/>
            <a:r>
              <a:rPr lang="en-US" dirty="0">
                <a:latin typeface="Roboto"/>
                <a:ea typeface="Roboto"/>
                <a:cs typeface="Roboto"/>
                <a:sym typeface="Roboto"/>
              </a:rPr>
              <a:t>The ability to make good judgments and quick decisions, typically in a particular domain.</a:t>
            </a:r>
          </a:p>
          <a:p>
            <a:pPr marL="0" indent="0"/>
            <a:endParaRPr dirty="0">
              <a:latin typeface="Roboto"/>
              <a:ea typeface="Roboto"/>
              <a:cs typeface="Roboto"/>
              <a:sym typeface="Roboto"/>
            </a:endParaRPr>
          </a:p>
        </p:txBody>
      </p:sp>
    </p:spTree>
    <p:extLst>
      <p:ext uri="{BB962C8B-B14F-4D97-AF65-F5344CB8AC3E}">
        <p14:creationId xmlns:p14="http://schemas.microsoft.com/office/powerpoint/2010/main" val="3268243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2">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2">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36"/>
        <p:cNvGrpSpPr/>
        <p:nvPr/>
      </p:nvGrpSpPr>
      <p:grpSpPr>
        <a:xfrm>
          <a:off x="0" y="0"/>
          <a:ext cx="0" cy="0"/>
          <a:chOff x="0" y="0"/>
          <a:chExt cx="0" cy="0"/>
        </a:xfrm>
      </p:grpSpPr>
      <p:sp>
        <p:nvSpPr>
          <p:cNvPr id="2" name="Title 1">
            <a:extLst>
              <a:ext uri="{FF2B5EF4-FFF2-40B4-BE49-F238E27FC236}">
                <a16:creationId xmlns:a16="http://schemas.microsoft.com/office/drawing/2014/main" id="{07075F8E-6DA9-B649-BEC8-3696A70CBFED}"/>
              </a:ext>
            </a:extLst>
          </p:cNvPr>
          <p:cNvSpPr>
            <a:spLocks noGrp="1"/>
          </p:cNvSpPr>
          <p:nvPr>
            <p:ph type="title"/>
          </p:nvPr>
        </p:nvSpPr>
        <p:spPr/>
        <p:txBody>
          <a:bodyPr>
            <a:normAutofit fontScale="90000"/>
          </a:bodyPr>
          <a:lstStyle/>
          <a:p>
            <a:r>
              <a:rPr lang="en-US" dirty="0">
                <a:latin typeface="Roboto"/>
                <a:ea typeface="Roboto"/>
                <a:cs typeface="Roboto"/>
                <a:sym typeface="Roboto"/>
              </a:rPr>
              <a:t>Key concepts involved in developing data acumen include the following:</a:t>
            </a:r>
            <a:br>
              <a:rPr lang="en-US" dirty="0">
                <a:latin typeface="Roboto"/>
                <a:ea typeface="Roboto"/>
                <a:cs typeface="Roboto"/>
                <a:sym typeface="Roboto"/>
              </a:rPr>
            </a:br>
            <a:endParaRPr lang="en-US" dirty="0"/>
          </a:p>
        </p:txBody>
      </p:sp>
      <p:sp>
        <p:nvSpPr>
          <p:cNvPr id="138" name="Google Shape;138;p22"/>
          <p:cNvSpPr txBox="1">
            <a:spLocks noGrp="1"/>
          </p:cNvSpPr>
          <p:nvPr>
            <p:ph idx="1"/>
          </p:nvPr>
        </p:nvSpPr>
        <p:spPr>
          <a:xfrm>
            <a:off x="466344" y="1383948"/>
            <a:ext cx="8211312" cy="4733388"/>
          </a:xfrm>
          <a:prstGeom prst="rect">
            <a:avLst/>
          </a:prstGeom>
        </p:spPr>
        <p:txBody>
          <a:bodyPr spcFirstLastPara="1" vert="horz" wrap="square" lIns="91425" tIns="91425" rIns="91425" bIns="91425" rtlCol="0" anchor="ctr" anchorCtr="0">
            <a:noAutofit/>
          </a:bodyPr>
          <a:lstStyle/>
          <a:p>
            <a:pPr indent="-355600">
              <a:buSzPts val="2000"/>
              <a:buFont typeface="Roboto"/>
              <a:buAutoNum type="alphaUcPeriod"/>
            </a:pPr>
            <a:r>
              <a:rPr lang="en" dirty="0">
                <a:latin typeface="Roboto"/>
                <a:ea typeface="Roboto"/>
                <a:cs typeface="Roboto"/>
                <a:sym typeface="Roboto"/>
              </a:rPr>
              <a:t>Mathematical foundations,</a:t>
            </a:r>
            <a:endParaRPr dirty="0">
              <a:latin typeface="Roboto"/>
              <a:ea typeface="Roboto"/>
              <a:cs typeface="Roboto"/>
              <a:sym typeface="Roboto"/>
            </a:endParaRPr>
          </a:p>
          <a:p>
            <a:pPr indent="-355600">
              <a:buSzPts val="2000"/>
              <a:buFont typeface="Roboto"/>
              <a:buAutoNum type="alphaUcPeriod"/>
            </a:pPr>
            <a:r>
              <a:rPr lang="en" dirty="0">
                <a:latin typeface="Roboto"/>
                <a:ea typeface="Roboto"/>
                <a:cs typeface="Roboto"/>
                <a:sym typeface="Roboto"/>
              </a:rPr>
              <a:t>Computational foundations,</a:t>
            </a:r>
            <a:endParaRPr dirty="0">
              <a:latin typeface="Roboto"/>
              <a:ea typeface="Roboto"/>
              <a:cs typeface="Roboto"/>
              <a:sym typeface="Roboto"/>
            </a:endParaRPr>
          </a:p>
          <a:p>
            <a:pPr indent="-355600">
              <a:buSzPts val="2000"/>
              <a:buFont typeface="Roboto"/>
              <a:buAutoNum type="alphaUcPeriod"/>
            </a:pPr>
            <a:r>
              <a:rPr lang="en" dirty="0">
                <a:latin typeface="Roboto"/>
                <a:ea typeface="Roboto"/>
                <a:cs typeface="Roboto"/>
                <a:sym typeface="Roboto"/>
              </a:rPr>
              <a:t>Statistical foundations,</a:t>
            </a:r>
            <a:endParaRPr dirty="0">
              <a:latin typeface="Roboto"/>
              <a:ea typeface="Roboto"/>
              <a:cs typeface="Roboto"/>
              <a:sym typeface="Roboto"/>
            </a:endParaRPr>
          </a:p>
          <a:p>
            <a:pPr indent="-355600">
              <a:buSzPts val="2000"/>
              <a:buFont typeface="Roboto"/>
              <a:buAutoNum type="alphaUcPeriod"/>
            </a:pPr>
            <a:r>
              <a:rPr lang="en" dirty="0">
                <a:latin typeface="Roboto"/>
                <a:ea typeface="Roboto"/>
                <a:cs typeface="Roboto"/>
                <a:sym typeface="Roboto"/>
              </a:rPr>
              <a:t>Data management and curation,</a:t>
            </a:r>
            <a:endParaRPr dirty="0">
              <a:latin typeface="Roboto"/>
              <a:ea typeface="Roboto"/>
              <a:cs typeface="Roboto"/>
              <a:sym typeface="Roboto"/>
            </a:endParaRPr>
          </a:p>
          <a:p>
            <a:pPr indent="-355600">
              <a:buSzPts val="2000"/>
              <a:buFont typeface="Roboto"/>
              <a:buAutoNum type="alphaUcPeriod"/>
            </a:pPr>
            <a:r>
              <a:rPr lang="en" dirty="0">
                <a:latin typeface="Roboto"/>
                <a:ea typeface="Roboto"/>
                <a:cs typeface="Roboto"/>
                <a:sym typeface="Roboto"/>
              </a:rPr>
              <a:t>Data description and visualization,</a:t>
            </a:r>
            <a:endParaRPr dirty="0">
              <a:latin typeface="Roboto"/>
              <a:ea typeface="Roboto"/>
              <a:cs typeface="Roboto"/>
              <a:sym typeface="Roboto"/>
            </a:endParaRPr>
          </a:p>
          <a:p>
            <a:pPr indent="-355600">
              <a:buSzPts val="2000"/>
              <a:buFont typeface="Roboto"/>
              <a:buAutoNum type="alphaUcPeriod"/>
            </a:pPr>
            <a:r>
              <a:rPr lang="en" dirty="0">
                <a:latin typeface="Roboto"/>
                <a:ea typeface="Roboto"/>
                <a:cs typeface="Roboto"/>
                <a:sym typeface="Roboto"/>
              </a:rPr>
              <a:t>Data modeling and assessment,</a:t>
            </a:r>
            <a:endParaRPr dirty="0">
              <a:latin typeface="Roboto"/>
              <a:ea typeface="Roboto"/>
              <a:cs typeface="Roboto"/>
              <a:sym typeface="Roboto"/>
            </a:endParaRPr>
          </a:p>
          <a:p>
            <a:pPr indent="-355600">
              <a:buSzPts val="2000"/>
              <a:buFont typeface="Roboto"/>
              <a:buAutoNum type="alphaUcPeriod"/>
            </a:pPr>
            <a:r>
              <a:rPr lang="en" dirty="0">
                <a:latin typeface="Roboto"/>
                <a:ea typeface="Roboto"/>
                <a:cs typeface="Roboto"/>
                <a:sym typeface="Roboto"/>
              </a:rPr>
              <a:t>Workflow and reproducibility,</a:t>
            </a:r>
            <a:endParaRPr dirty="0">
              <a:latin typeface="Roboto"/>
              <a:ea typeface="Roboto"/>
              <a:cs typeface="Roboto"/>
              <a:sym typeface="Roboto"/>
            </a:endParaRPr>
          </a:p>
          <a:p>
            <a:pPr indent="-355600">
              <a:buSzPts val="2000"/>
              <a:buFont typeface="Roboto"/>
              <a:buAutoNum type="alphaUcPeriod"/>
            </a:pPr>
            <a:r>
              <a:rPr lang="en" dirty="0">
                <a:latin typeface="Roboto"/>
                <a:ea typeface="Roboto"/>
                <a:cs typeface="Roboto"/>
                <a:sym typeface="Roboto"/>
              </a:rPr>
              <a:t>Communication and teamwork,</a:t>
            </a:r>
            <a:endParaRPr dirty="0">
              <a:latin typeface="Roboto"/>
              <a:ea typeface="Roboto"/>
              <a:cs typeface="Roboto"/>
              <a:sym typeface="Roboto"/>
            </a:endParaRPr>
          </a:p>
          <a:p>
            <a:pPr indent="-355600">
              <a:buSzPts val="2000"/>
              <a:buFont typeface="Roboto"/>
              <a:buAutoNum type="alphaUcPeriod"/>
            </a:pPr>
            <a:r>
              <a:rPr lang="en" dirty="0">
                <a:latin typeface="Roboto"/>
                <a:ea typeface="Roboto"/>
                <a:cs typeface="Roboto"/>
                <a:sym typeface="Roboto"/>
              </a:rPr>
              <a:t>Domain-specific considerations, and</a:t>
            </a:r>
            <a:endParaRPr dirty="0">
              <a:latin typeface="Roboto"/>
              <a:ea typeface="Roboto"/>
              <a:cs typeface="Roboto"/>
              <a:sym typeface="Roboto"/>
            </a:endParaRPr>
          </a:p>
          <a:p>
            <a:pPr indent="-355600">
              <a:buSzPts val="2000"/>
              <a:buFont typeface="Roboto"/>
              <a:buAutoNum type="alphaUcPeriod"/>
            </a:pPr>
            <a:r>
              <a:rPr lang="en" dirty="0">
                <a:latin typeface="Roboto"/>
                <a:ea typeface="Roboto"/>
                <a:cs typeface="Roboto"/>
                <a:sym typeface="Roboto"/>
              </a:rPr>
              <a:t>Ethical problem solving.</a:t>
            </a:r>
            <a:endParaRPr dirty="0">
              <a:latin typeface="Roboto"/>
              <a:ea typeface="Roboto"/>
              <a:cs typeface="Roboto"/>
              <a:sym typeface="Roboto"/>
            </a:endParaRPr>
          </a:p>
        </p:txBody>
      </p:sp>
      <p:sp>
        <p:nvSpPr>
          <p:cNvPr id="3" name="Rectangle 2">
            <a:extLst>
              <a:ext uri="{FF2B5EF4-FFF2-40B4-BE49-F238E27FC236}">
                <a16:creationId xmlns:a16="http://schemas.microsoft.com/office/drawing/2014/main" id="{4CE9C916-A8AC-C347-9840-31B375CD80E0}"/>
              </a:ext>
            </a:extLst>
          </p:cNvPr>
          <p:cNvSpPr/>
          <p:nvPr/>
        </p:nvSpPr>
        <p:spPr>
          <a:xfrm>
            <a:off x="6086856" y="4732341"/>
            <a:ext cx="2590800" cy="1384995"/>
          </a:xfrm>
          <a:prstGeom prst="rect">
            <a:avLst/>
          </a:prstGeom>
          <a:ln>
            <a:solidFill>
              <a:srgbClr val="000000"/>
            </a:solidFill>
          </a:ln>
        </p:spPr>
        <p:txBody>
          <a:bodyPr wrap="square">
            <a:spAutoFit/>
          </a:bodyPr>
          <a:lstStyle/>
          <a:p>
            <a:r>
              <a:rPr lang="en-US" sz="1200" dirty="0">
                <a:latin typeface="Roboto"/>
                <a:ea typeface="Roboto"/>
                <a:cs typeface="Roboto"/>
                <a:sym typeface="Roboto"/>
              </a:rPr>
              <a:t>National Academies of Sciences, Engineering, and Medicine. 2018. Data Science for Undergraduates: Opportunities and Options. Washington, DC: The National Academies Press. https://</a:t>
            </a:r>
            <a:r>
              <a:rPr lang="en-US" sz="1200" dirty="0" err="1">
                <a:latin typeface="Roboto"/>
                <a:ea typeface="Roboto"/>
                <a:cs typeface="Roboto"/>
                <a:sym typeface="Roboto"/>
              </a:rPr>
              <a:t>doi.org</a:t>
            </a:r>
            <a:r>
              <a:rPr lang="en-US" sz="1200" dirty="0">
                <a:latin typeface="Roboto"/>
                <a:ea typeface="Roboto"/>
                <a:cs typeface="Roboto"/>
                <a:sym typeface="Roboto"/>
              </a:rPr>
              <a:t>/10.17226/25104.</a:t>
            </a:r>
          </a:p>
        </p:txBody>
      </p:sp>
    </p:spTree>
    <p:extLst>
      <p:ext uri="{BB962C8B-B14F-4D97-AF65-F5344CB8AC3E}">
        <p14:creationId xmlns:p14="http://schemas.microsoft.com/office/powerpoint/2010/main" val="42293110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42"/>
        <p:cNvGrpSpPr/>
        <p:nvPr/>
      </p:nvGrpSpPr>
      <p:grpSpPr>
        <a:xfrm>
          <a:off x="0" y="0"/>
          <a:ext cx="0" cy="0"/>
          <a:chOff x="0" y="0"/>
          <a:chExt cx="0" cy="0"/>
        </a:xfrm>
      </p:grpSpPr>
      <p:pic>
        <p:nvPicPr>
          <p:cNvPr id="145" name="Google Shape;145;p23"/>
          <p:cNvPicPr preferRelativeResize="0"/>
          <p:nvPr/>
        </p:nvPicPr>
        <p:blipFill>
          <a:blip r:embed="rId3">
            <a:alphaModFix/>
          </a:blip>
          <a:stretch>
            <a:fillRect/>
          </a:stretch>
        </p:blipFill>
        <p:spPr>
          <a:xfrm>
            <a:off x="3771900" y="2209118"/>
            <a:ext cx="5132649" cy="3964502"/>
          </a:xfrm>
          <a:prstGeom prst="rect">
            <a:avLst/>
          </a:prstGeom>
          <a:noFill/>
          <a:ln>
            <a:noFill/>
          </a:ln>
        </p:spPr>
      </p:pic>
      <p:sp>
        <p:nvSpPr>
          <p:cNvPr id="143" name="Google Shape;143;p23"/>
          <p:cNvSpPr txBox="1">
            <a:spLocks noGrp="1"/>
          </p:cNvSpPr>
          <p:nvPr>
            <p:ph type="title"/>
          </p:nvPr>
        </p:nvSpPr>
        <p:spPr>
          <a:prstGeom prst="rect">
            <a:avLst/>
          </a:prstGeom>
        </p:spPr>
        <p:txBody>
          <a:bodyPr spcFirstLastPara="1" vert="horz" wrap="square" lIns="91425" tIns="91425" rIns="91425" bIns="91425" rtlCol="0" anchor="b" anchorCtr="0">
            <a:noAutofit/>
          </a:bodyPr>
          <a:lstStyle/>
          <a:p>
            <a:r>
              <a:rPr lang="en" dirty="0">
                <a:latin typeface="Roboto"/>
                <a:ea typeface="Roboto"/>
                <a:cs typeface="Roboto"/>
                <a:sym typeface="Roboto"/>
              </a:rPr>
              <a:t>Take a deep breath ...</a:t>
            </a:r>
            <a:endParaRPr dirty="0">
              <a:latin typeface="Roboto"/>
              <a:ea typeface="Roboto"/>
              <a:cs typeface="Roboto"/>
              <a:sym typeface="Roboto"/>
            </a:endParaRPr>
          </a:p>
        </p:txBody>
      </p:sp>
      <p:sp>
        <p:nvSpPr>
          <p:cNvPr id="144" name="Google Shape;144;p23"/>
          <p:cNvSpPr txBox="1">
            <a:spLocks noGrp="1"/>
          </p:cNvSpPr>
          <p:nvPr>
            <p:ph sz="half" idx="1"/>
          </p:nvPr>
        </p:nvSpPr>
        <p:spPr>
          <a:xfrm>
            <a:off x="466344" y="1481328"/>
            <a:ext cx="4410456" cy="4636008"/>
          </a:xfrm>
          <a:prstGeom prst="rect">
            <a:avLst/>
          </a:prstGeom>
        </p:spPr>
        <p:txBody>
          <a:bodyPr spcFirstLastPara="1" vert="horz" wrap="square" lIns="91425" tIns="91425" rIns="91425" bIns="91425" rtlCol="0" anchor="t" anchorCtr="0">
            <a:noAutofit/>
          </a:bodyPr>
          <a:lstStyle/>
          <a:p>
            <a:pPr marL="0" indent="0">
              <a:buNone/>
            </a:pPr>
            <a:r>
              <a:rPr lang="en" sz="2300" dirty="0"/>
              <a:t>That was a lot of stuff!</a:t>
            </a:r>
            <a:endParaRPr sz="2300" dirty="0"/>
          </a:p>
          <a:p>
            <a:pPr marL="0" indent="0">
              <a:spcBef>
                <a:spcPts val="1600"/>
              </a:spcBef>
              <a:buNone/>
            </a:pPr>
            <a:r>
              <a:rPr lang="en" sz="2300" dirty="0"/>
              <a:t>Do I have to know all of that?</a:t>
            </a:r>
            <a:endParaRPr sz="2300" dirty="0"/>
          </a:p>
          <a:p>
            <a:pPr marL="0" indent="0">
              <a:spcBef>
                <a:spcPts val="1600"/>
              </a:spcBef>
              <a:buNone/>
            </a:pPr>
            <a:r>
              <a:rPr lang="en" sz="2300" dirty="0"/>
              <a:t>Do I have to teach all of that?</a:t>
            </a:r>
            <a:endParaRPr sz="2300" dirty="0"/>
          </a:p>
          <a:p>
            <a:pPr marL="0" indent="0">
              <a:spcBef>
                <a:spcPts val="1600"/>
              </a:spcBef>
              <a:spcAft>
                <a:spcPts val="1600"/>
              </a:spcAft>
              <a:buNone/>
            </a:pPr>
            <a:endParaRPr lang="en" sz="2300" dirty="0"/>
          </a:p>
          <a:p>
            <a:pPr marL="0" indent="0" algn="ctr">
              <a:spcBef>
                <a:spcPts val="1600"/>
              </a:spcBef>
              <a:spcAft>
                <a:spcPts val="1600"/>
              </a:spcAft>
              <a:buNone/>
            </a:pPr>
            <a:r>
              <a:rPr lang="en" sz="2300" b="1" dirty="0"/>
              <a:t>No</a:t>
            </a:r>
            <a:endParaRPr sz="2300" b="1" dirty="0"/>
          </a:p>
        </p:txBody>
      </p:sp>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8BBC3E71-FF2E-2149-98EC-E1B7443E18CD}"/>
                  </a:ext>
                </a:extLst>
              </p14:cNvPr>
              <p14:cNvContentPartPr/>
              <p14:nvPr/>
            </p14:nvContentPartPr>
            <p14:xfrm>
              <a:off x="6288112" y="3719569"/>
              <a:ext cx="200880" cy="752760"/>
            </p14:xfrm>
          </p:contentPart>
        </mc:Choice>
        <mc:Fallback>
          <p:pic>
            <p:nvPicPr>
              <p:cNvPr id="3" name="Ink 2">
                <a:extLst>
                  <a:ext uri="{FF2B5EF4-FFF2-40B4-BE49-F238E27FC236}">
                    <a16:creationId xmlns:a16="http://schemas.microsoft.com/office/drawing/2014/main" id="{8BBC3E71-FF2E-2149-98EC-E1B7443E18CD}"/>
                  </a:ext>
                </a:extLst>
              </p:cNvPr>
              <p:cNvPicPr/>
              <p:nvPr/>
            </p:nvPicPr>
            <p:blipFill>
              <a:blip r:embed="rId5"/>
              <a:stretch>
                <a:fillRect/>
              </a:stretch>
            </p:blipFill>
            <p:spPr>
              <a:xfrm>
                <a:off x="6270472" y="3701929"/>
                <a:ext cx="236520" cy="7884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Ink 3">
                <a:extLst>
                  <a:ext uri="{FF2B5EF4-FFF2-40B4-BE49-F238E27FC236}">
                    <a16:creationId xmlns:a16="http://schemas.microsoft.com/office/drawing/2014/main" id="{3B6DB1BD-CD71-AD42-98CC-F106C45A9678}"/>
                  </a:ext>
                </a:extLst>
              </p14:cNvPr>
              <p14:cNvContentPartPr/>
              <p14:nvPr/>
            </p14:nvContentPartPr>
            <p14:xfrm>
              <a:off x="5970232" y="3680689"/>
              <a:ext cx="709560" cy="1728000"/>
            </p14:xfrm>
          </p:contentPart>
        </mc:Choice>
        <mc:Fallback>
          <p:pic>
            <p:nvPicPr>
              <p:cNvPr id="4" name="Ink 3">
                <a:extLst>
                  <a:ext uri="{FF2B5EF4-FFF2-40B4-BE49-F238E27FC236}">
                    <a16:creationId xmlns:a16="http://schemas.microsoft.com/office/drawing/2014/main" id="{3B6DB1BD-CD71-AD42-98CC-F106C45A9678}"/>
                  </a:ext>
                </a:extLst>
              </p:cNvPr>
              <p:cNvPicPr/>
              <p:nvPr/>
            </p:nvPicPr>
            <p:blipFill>
              <a:blip r:embed="rId7"/>
              <a:stretch>
                <a:fillRect/>
              </a:stretch>
            </p:blipFill>
            <p:spPr>
              <a:xfrm>
                <a:off x="5952592" y="3662689"/>
                <a:ext cx="745200" cy="1763640"/>
              </a:xfrm>
              <a:prstGeom prst="rect">
                <a:avLst/>
              </a:prstGeom>
            </p:spPr>
          </p:pic>
        </mc:Fallback>
      </mc:AlternateContent>
    </p:spTree>
    <p:extLst>
      <p:ext uri="{BB962C8B-B14F-4D97-AF65-F5344CB8AC3E}">
        <p14:creationId xmlns:p14="http://schemas.microsoft.com/office/powerpoint/2010/main" val="22213977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49"/>
        <p:cNvGrpSpPr/>
        <p:nvPr/>
      </p:nvGrpSpPr>
      <p:grpSpPr>
        <a:xfrm>
          <a:off x="0" y="0"/>
          <a:ext cx="0" cy="0"/>
          <a:chOff x="0" y="0"/>
          <a:chExt cx="0" cy="0"/>
        </a:xfrm>
      </p:grpSpPr>
      <p:sp>
        <p:nvSpPr>
          <p:cNvPr id="150" name="Google Shape;150;p24"/>
          <p:cNvSpPr txBox="1">
            <a:spLocks noGrp="1"/>
          </p:cNvSpPr>
          <p:nvPr>
            <p:ph type="title"/>
          </p:nvPr>
        </p:nvSpPr>
        <p:spPr>
          <a:prstGeom prst="rect">
            <a:avLst/>
          </a:prstGeom>
        </p:spPr>
        <p:txBody>
          <a:bodyPr spcFirstLastPara="1" vert="horz" wrap="square" lIns="91425" tIns="91425" rIns="91425" bIns="91425" rtlCol="0" anchor="b" anchorCtr="0">
            <a:noAutofit/>
          </a:bodyPr>
          <a:lstStyle/>
          <a:p>
            <a:endParaRPr dirty="0"/>
          </a:p>
        </p:txBody>
      </p:sp>
      <p:sp>
        <p:nvSpPr>
          <p:cNvPr id="2" name="Content Placeholder 1">
            <a:extLst>
              <a:ext uri="{FF2B5EF4-FFF2-40B4-BE49-F238E27FC236}">
                <a16:creationId xmlns:a16="http://schemas.microsoft.com/office/drawing/2014/main" id="{AA7F68CE-38EB-E44E-8076-70E28C0E17E3}"/>
              </a:ext>
            </a:extLst>
          </p:cNvPr>
          <p:cNvSpPr>
            <a:spLocks noGrp="1"/>
          </p:cNvSpPr>
          <p:nvPr>
            <p:ph idx="1"/>
          </p:nvPr>
        </p:nvSpPr>
        <p:spPr/>
        <p:txBody>
          <a:bodyPr/>
          <a:lstStyle/>
          <a:p>
            <a:r>
              <a:rPr lang="en-US" sz="2800" dirty="0">
                <a:solidFill>
                  <a:schemeClr val="dk1"/>
                </a:solidFill>
                <a:latin typeface="Roboto Slab"/>
                <a:ea typeface="Roboto Slab"/>
                <a:cs typeface="Roboto Slab"/>
                <a:sym typeface="Roboto Slab"/>
              </a:rPr>
              <a:t>We don’t need to be data scientists.</a:t>
            </a:r>
            <a:endParaRPr lang="en-US" sz="2800" dirty="0"/>
          </a:p>
          <a:p>
            <a:r>
              <a:rPr lang="en-US" sz="2800" dirty="0"/>
              <a:t>We don’t need to train our students to be data scientists.</a:t>
            </a:r>
          </a:p>
          <a:p>
            <a:endParaRPr lang="en-US" sz="2800" dirty="0"/>
          </a:p>
          <a:p>
            <a:r>
              <a:rPr lang="en-US" sz="2800" dirty="0"/>
              <a:t>However, it would probably be a good idea to explore the ways that data science is used in biology and think about how our teaching can help prepare students to engage with data science principles and practices.</a:t>
            </a:r>
          </a:p>
        </p:txBody>
      </p:sp>
    </p:spTree>
    <p:extLst>
      <p:ext uri="{BB962C8B-B14F-4D97-AF65-F5344CB8AC3E}">
        <p14:creationId xmlns:p14="http://schemas.microsoft.com/office/powerpoint/2010/main" val="3532354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55"/>
        <p:cNvGrpSpPr/>
        <p:nvPr/>
      </p:nvGrpSpPr>
      <p:grpSpPr>
        <a:xfrm>
          <a:off x="0" y="0"/>
          <a:ext cx="0" cy="0"/>
          <a:chOff x="0" y="0"/>
          <a:chExt cx="0" cy="0"/>
        </a:xfrm>
      </p:grpSpPr>
      <p:sp>
        <p:nvSpPr>
          <p:cNvPr id="156" name="Google Shape;156;p25"/>
          <p:cNvSpPr txBox="1">
            <a:spLocks noGrp="1"/>
          </p:cNvSpPr>
          <p:nvPr>
            <p:ph type="title"/>
          </p:nvPr>
        </p:nvSpPr>
        <p:spPr>
          <a:xfrm>
            <a:off x="466344" y="420624"/>
            <a:ext cx="8158111" cy="963324"/>
          </a:xfrm>
          <a:prstGeom prst="rect">
            <a:avLst/>
          </a:prstGeom>
        </p:spPr>
        <p:txBody>
          <a:bodyPr spcFirstLastPara="1" vert="horz" wrap="square" lIns="91425" tIns="91425" rIns="91425" bIns="91425" rtlCol="0" anchor="b" anchorCtr="0">
            <a:noAutofit/>
          </a:bodyPr>
          <a:lstStyle/>
          <a:p>
            <a:r>
              <a:rPr lang="en" dirty="0"/>
              <a:t>Mapping your data science landscape</a:t>
            </a:r>
            <a:endParaRPr dirty="0"/>
          </a:p>
        </p:txBody>
      </p:sp>
      <p:graphicFrame>
        <p:nvGraphicFramePr>
          <p:cNvPr id="13" name="Table 12">
            <a:extLst>
              <a:ext uri="{FF2B5EF4-FFF2-40B4-BE49-F238E27FC236}">
                <a16:creationId xmlns:a16="http://schemas.microsoft.com/office/drawing/2014/main" id="{692E191A-5F8F-1C4E-ABF4-047EB7A5681F}"/>
              </a:ext>
            </a:extLst>
          </p:cNvPr>
          <p:cNvGraphicFramePr>
            <a:graphicFrameLocks noGrp="1"/>
          </p:cNvGraphicFramePr>
          <p:nvPr>
            <p:extLst>
              <p:ext uri="{D42A27DB-BD31-4B8C-83A1-F6EECF244321}">
                <p14:modId xmlns:p14="http://schemas.microsoft.com/office/powerpoint/2010/main" val="3386516818"/>
              </p:ext>
            </p:extLst>
          </p:nvPr>
        </p:nvGraphicFramePr>
        <p:xfrm>
          <a:off x="604456" y="1765227"/>
          <a:ext cx="6096000" cy="128016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1269854188"/>
                    </a:ext>
                  </a:extLst>
                </a:gridCol>
                <a:gridCol w="2032000">
                  <a:extLst>
                    <a:ext uri="{9D8B030D-6E8A-4147-A177-3AD203B41FA5}">
                      <a16:colId xmlns:a16="http://schemas.microsoft.com/office/drawing/2014/main" val="2770925980"/>
                    </a:ext>
                  </a:extLst>
                </a:gridCol>
                <a:gridCol w="2032000">
                  <a:extLst>
                    <a:ext uri="{9D8B030D-6E8A-4147-A177-3AD203B41FA5}">
                      <a16:colId xmlns:a16="http://schemas.microsoft.com/office/drawing/2014/main" val="1022975298"/>
                    </a:ext>
                  </a:extLst>
                </a:gridCol>
              </a:tblGrid>
              <a:tr h="370840">
                <a:tc>
                  <a:txBody>
                    <a:bodyPr/>
                    <a:lstStyle/>
                    <a:p>
                      <a:endParaRPr lang="en-US" dirty="0"/>
                    </a:p>
                  </a:txBody>
                  <a:tcPr/>
                </a:tc>
                <a:tc>
                  <a:txBody>
                    <a:bodyPr/>
                    <a:lstStyle/>
                    <a:p>
                      <a:r>
                        <a:rPr lang="en-US" dirty="0"/>
                        <a:t>Not sure what it means</a:t>
                      </a:r>
                    </a:p>
                  </a:txBody>
                  <a:tcPr/>
                </a:tc>
                <a:tc>
                  <a:txBody>
                    <a:bodyPr/>
                    <a:lstStyle/>
                    <a:p>
                      <a:r>
                        <a:rPr lang="en-US" dirty="0"/>
                        <a:t>Not relevant to me</a:t>
                      </a:r>
                    </a:p>
                  </a:txBody>
                  <a:tcPr/>
                </a:tc>
                <a:extLst>
                  <a:ext uri="{0D108BD9-81ED-4DB2-BD59-A6C34878D82A}">
                    <a16:rowId xmlns:a16="http://schemas.microsoft.com/office/drawing/2014/main" val="1619603442"/>
                  </a:ext>
                </a:extLst>
              </a:tr>
              <a:tr h="370840">
                <a:tc>
                  <a:txBody>
                    <a:bodyPr/>
                    <a:lstStyle/>
                    <a:p>
                      <a:r>
                        <a:rPr lang="en-US" dirty="0"/>
                        <a:t>A. Mathematical Foundations</a:t>
                      </a:r>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33481235"/>
                  </a:ext>
                </a:extLst>
              </a:tr>
            </a:tbl>
          </a:graphicData>
        </a:graphic>
      </p:graphicFrame>
      <p:graphicFrame>
        <p:nvGraphicFramePr>
          <p:cNvPr id="14" name="Content Placeholder 7">
            <a:extLst>
              <a:ext uri="{FF2B5EF4-FFF2-40B4-BE49-F238E27FC236}">
                <a16:creationId xmlns:a16="http://schemas.microsoft.com/office/drawing/2014/main" id="{55F5A579-F4B2-1F4D-AFA0-3144151C49AA}"/>
              </a:ext>
            </a:extLst>
          </p:cNvPr>
          <p:cNvGraphicFramePr>
            <a:graphicFrameLocks noGrp="1"/>
          </p:cNvGraphicFramePr>
          <p:nvPr>
            <p:ph idx="1"/>
            <p:extLst>
              <p:ext uri="{D42A27DB-BD31-4B8C-83A1-F6EECF244321}">
                <p14:modId xmlns:p14="http://schemas.microsoft.com/office/powerpoint/2010/main" val="2026279351"/>
              </p:ext>
            </p:extLst>
          </p:nvPr>
        </p:nvGraphicFramePr>
        <p:xfrm>
          <a:off x="466344" y="1383948"/>
          <a:ext cx="8245760" cy="4663440"/>
        </p:xfrm>
        <a:graphic>
          <a:graphicData uri="http://schemas.openxmlformats.org/drawingml/2006/table">
            <a:tbl>
              <a:tblPr firstRow="1" bandRow="1">
                <a:tableStyleId>{5C22544A-7EE6-4342-B048-85BDC9FD1C3A}</a:tableStyleId>
              </a:tblPr>
              <a:tblGrid>
                <a:gridCol w="4578267">
                  <a:extLst>
                    <a:ext uri="{9D8B030D-6E8A-4147-A177-3AD203B41FA5}">
                      <a16:colId xmlns:a16="http://schemas.microsoft.com/office/drawing/2014/main" val="1045491743"/>
                    </a:ext>
                  </a:extLst>
                </a:gridCol>
                <a:gridCol w="1993187">
                  <a:extLst>
                    <a:ext uri="{9D8B030D-6E8A-4147-A177-3AD203B41FA5}">
                      <a16:colId xmlns:a16="http://schemas.microsoft.com/office/drawing/2014/main" val="2067597918"/>
                    </a:ext>
                  </a:extLst>
                </a:gridCol>
                <a:gridCol w="1674306">
                  <a:extLst>
                    <a:ext uri="{9D8B030D-6E8A-4147-A177-3AD203B41FA5}">
                      <a16:colId xmlns:a16="http://schemas.microsoft.com/office/drawing/2014/main" val="185715844"/>
                    </a:ext>
                  </a:extLst>
                </a:gridCol>
              </a:tblGrid>
              <a:tr h="370840">
                <a:tc>
                  <a:txBody>
                    <a:bodyPr/>
                    <a:lstStyle/>
                    <a:p>
                      <a:r>
                        <a:rPr lang="en-US" sz="2000" dirty="0"/>
                        <a:t>Key Concept</a:t>
                      </a:r>
                    </a:p>
                  </a:txBody>
                  <a:tcPr/>
                </a:tc>
                <a:tc>
                  <a:txBody>
                    <a:bodyPr/>
                    <a:lstStyle/>
                    <a:p>
                      <a:r>
                        <a:rPr lang="en-US" sz="2000" dirty="0"/>
                        <a:t>Not sure what this means</a:t>
                      </a:r>
                    </a:p>
                  </a:txBody>
                  <a:tcPr/>
                </a:tc>
                <a:tc>
                  <a:txBody>
                    <a:bodyPr/>
                    <a:lstStyle/>
                    <a:p>
                      <a:r>
                        <a:rPr lang="en-US" sz="2000" dirty="0"/>
                        <a:t>Not relevant to me </a:t>
                      </a:r>
                    </a:p>
                  </a:txBody>
                  <a:tcPr/>
                </a:tc>
                <a:extLst>
                  <a:ext uri="{0D108BD9-81ED-4DB2-BD59-A6C34878D82A}">
                    <a16:rowId xmlns:a16="http://schemas.microsoft.com/office/drawing/2014/main" val="3325071991"/>
                  </a:ext>
                </a:extLst>
              </a:tr>
              <a:tr h="370840">
                <a:tc>
                  <a:txBody>
                    <a:bodyPr/>
                    <a:lstStyle/>
                    <a:p>
                      <a:r>
                        <a:rPr lang="en-US" sz="2000" dirty="0"/>
                        <a:t>A. </a:t>
                      </a:r>
                      <a:r>
                        <a:rPr lang="en-US" sz="2000" kern="1200" dirty="0">
                          <a:solidFill>
                            <a:schemeClr val="dk1"/>
                          </a:solidFill>
                          <a:effectLst/>
                          <a:latin typeface="+mn-lt"/>
                          <a:ea typeface="+mn-ea"/>
                          <a:cs typeface="+mn-cs"/>
                        </a:rPr>
                        <a:t>Mathematical foundations</a:t>
                      </a:r>
                      <a:endParaRPr lang="en-US" sz="2000" dirty="0"/>
                    </a:p>
                  </a:txBody>
                  <a:tcPr/>
                </a:tc>
                <a:tc>
                  <a:txBody>
                    <a:bodyPr/>
                    <a:lstStyle/>
                    <a:p>
                      <a:endParaRPr lang="en-US" sz="2000"/>
                    </a:p>
                  </a:txBody>
                  <a:tcPr/>
                </a:tc>
                <a:tc>
                  <a:txBody>
                    <a:bodyPr/>
                    <a:lstStyle/>
                    <a:p>
                      <a:endParaRPr lang="en-US" sz="2000"/>
                    </a:p>
                  </a:txBody>
                  <a:tcPr/>
                </a:tc>
                <a:extLst>
                  <a:ext uri="{0D108BD9-81ED-4DB2-BD59-A6C34878D82A}">
                    <a16:rowId xmlns:a16="http://schemas.microsoft.com/office/drawing/2014/main" val="2681941728"/>
                  </a:ext>
                </a:extLst>
              </a:tr>
              <a:tr h="370840">
                <a:tc>
                  <a:txBody>
                    <a:bodyPr/>
                    <a:lstStyle/>
                    <a:p>
                      <a:r>
                        <a:rPr lang="en-US" sz="2000" dirty="0"/>
                        <a:t>B. </a:t>
                      </a:r>
                      <a:r>
                        <a:rPr lang="en-US" sz="2000" kern="1200" dirty="0">
                          <a:solidFill>
                            <a:schemeClr val="dk1"/>
                          </a:solidFill>
                          <a:effectLst/>
                          <a:latin typeface="+mn-lt"/>
                          <a:ea typeface="+mn-ea"/>
                          <a:cs typeface="+mn-cs"/>
                        </a:rPr>
                        <a:t>Computational foundations</a:t>
                      </a:r>
                      <a:r>
                        <a:rPr lang="en-US" sz="2000" dirty="0">
                          <a:effectLst/>
                        </a:rPr>
                        <a:t> </a:t>
                      </a:r>
                      <a:endParaRPr lang="en-US" sz="2000" dirty="0"/>
                    </a:p>
                  </a:txBody>
                  <a:tcPr/>
                </a:tc>
                <a:tc>
                  <a:txBody>
                    <a:bodyPr/>
                    <a:lstStyle/>
                    <a:p>
                      <a:endParaRPr lang="en-US" sz="2000"/>
                    </a:p>
                  </a:txBody>
                  <a:tcPr/>
                </a:tc>
                <a:tc>
                  <a:txBody>
                    <a:bodyPr/>
                    <a:lstStyle/>
                    <a:p>
                      <a:endParaRPr lang="en-US" sz="2000"/>
                    </a:p>
                  </a:txBody>
                  <a:tcPr/>
                </a:tc>
                <a:extLst>
                  <a:ext uri="{0D108BD9-81ED-4DB2-BD59-A6C34878D82A}">
                    <a16:rowId xmlns:a16="http://schemas.microsoft.com/office/drawing/2014/main" val="4184538714"/>
                  </a:ext>
                </a:extLst>
              </a:tr>
              <a:tr h="370840">
                <a:tc>
                  <a:txBody>
                    <a:bodyPr/>
                    <a:lstStyle/>
                    <a:p>
                      <a:r>
                        <a:rPr lang="en-US" sz="2000" dirty="0"/>
                        <a:t>C. </a:t>
                      </a:r>
                      <a:r>
                        <a:rPr lang="en-US" sz="2000" kern="1200" dirty="0">
                          <a:solidFill>
                            <a:schemeClr val="dk1"/>
                          </a:solidFill>
                          <a:effectLst/>
                          <a:latin typeface="+mn-lt"/>
                          <a:ea typeface="+mn-ea"/>
                          <a:cs typeface="+mn-cs"/>
                        </a:rPr>
                        <a:t>Statistical foundations</a:t>
                      </a:r>
                      <a:endParaRPr lang="en-US" sz="2000" dirty="0"/>
                    </a:p>
                  </a:txBody>
                  <a:tcPr/>
                </a:tc>
                <a:tc>
                  <a:txBody>
                    <a:bodyPr/>
                    <a:lstStyle/>
                    <a:p>
                      <a:endParaRPr lang="en-US" sz="2000"/>
                    </a:p>
                  </a:txBody>
                  <a:tcPr/>
                </a:tc>
                <a:tc>
                  <a:txBody>
                    <a:bodyPr/>
                    <a:lstStyle/>
                    <a:p>
                      <a:endParaRPr lang="en-US" sz="2000"/>
                    </a:p>
                  </a:txBody>
                  <a:tcPr/>
                </a:tc>
                <a:extLst>
                  <a:ext uri="{0D108BD9-81ED-4DB2-BD59-A6C34878D82A}">
                    <a16:rowId xmlns:a16="http://schemas.microsoft.com/office/drawing/2014/main" val="2430619087"/>
                  </a:ext>
                </a:extLst>
              </a:tr>
              <a:tr h="370840">
                <a:tc>
                  <a:txBody>
                    <a:bodyPr/>
                    <a:lstStyle/>
                    <a:p>
                      <a:r>
                        <a:rPr lang="en-US" sz="2000" dirty="0"/>
                        <a:t>D. </a:t>
                      </a:r>
                      <a:r>
                        <a:rPr lang="en-US" sz="2000" kern="1200" dirty="0">
                          <a:solidFill>
                            <a:schemeClr val="dk1"/>
                          </a:solidFill>
                          <a:effectLst/>
                          <a:latin typeface="+mn-lt"/>
                          <a:ea typeface="+mn-ea"/>
                          <a:cs typeface="+mn-cs"/>
                        </a:rPr>
                        <a:t>Data management and curation</a:t>
                      </a:r>
                      <a:endParaRPr lang="en-US" sz="2000" dirty="0"/>
                    </a:p>
                  </a:txBody>
                  <a:tcPr/>
                </a:tc>
                <a:tc>
                  <a:txBody>
                    <a:bodyPr/>
                    <a:lstStyle/>
                    <a:p>
                      <a:endParaRPr lang="en-US" sz="2000"/>
                    </a:p>
                  </a:txBody>
                  <a:tcPr/>
                </a:tc>
                <a:tc>
                  <a:txBody>
                    <a:bodyPr/>
                    <a:lstStyle/>
                    <a:p>
                      <a:endParaRPr lang="en-US" sz="2000"/>
                    </a:p>
                  </a:txBody>
                  <a:tcPr/>
                </a:tc>
                <a:extLst>
                  <a:ext uri="{0D108BD9-81ED-4DB2-BD59-A6C34878D82A}">
                    <a16:rowId xmlns:a16="http://schemas.microsoft.com/office/drawing/2014/main" val="2486619280"/>
                  </a:ext>
                </a:extLst>
              </a:tr>
              <a:tr h="370840">
                <a:tc>
                  <a:txBody>
                    <a:bodyPr/>
                    <a:lstStyle/>
                    <a:p>
                      <a:r>
                        <a:rPr lang="en-US" sz="2000" dirty="0"/>
                        <a:t>E. </a:t>
                      </a:r>
                      <a:r>
                        <a:rPr lang="en-US" sz="2000" kern="1200" dirty="0">
                          <a:solidFill>
                            <a:schemeClr val="dk1"/>
                          </a:solidFill>
                          <a:effectLst/>
                          <a:latin typeface="+mn-lt"/>
                          <a:ea typeface="+mn-ea"/>
                          <a:cs typeface="+mn-cs"/>
                        </a:rPr>
                        <a:t>Data description and visualization</a:t>
                      </a:r>
                      <a:endParaRPr lang="en-US" sz="2000" dirty="0"/>
                    </a:p>
                  </a:txBody>
                  <a:tcPr/>
                </a:tc>
                <a:tc>
                  <a:txBody>
                    <a:bodyPr/>
                    <a:lstStyle/>
                    <a:p>
                      <a:endParaRPr lang="en-US" sz="2000"/>
                    </a:p>
                  </a:txBody>
                  <a:tcPr/>
                </a:tc>
                <a:tc>
                  <a:txBody>
                    <a:bodyPr/>
                    <a:lstStyle/>
                    <a:p>
                      <a:endParaRPr lang="en-US" sz="2000"/>
                    </a:p>
                  </a:txBody>
                  <a:tcPr/>
                </a:tc>
                <a:extLst>
                  <a:ext uri="{0D108BD9-81ED-4DB2-BD59-A6C34878D82A}">
                    <a16:rowId xmlns:a16="http://schemas.microsoft.com/office/drawing/2014/main" val="4010084129"/>
                  </a:ext>
                </a:extLst>
              </a:tr>
              <a:tr h="370840">
                <a:tc>
                  <a:txBody>
                    <a:bodyPr/>
                    <a:lstStyle/>
                    <a:p>
                      <a:r>
                        <a:rPr lang="en-US" sz="2000" dirty="0"/>
                        <a:t>F. Data modeling and assessment</a:t>
                      </a:r>
                    </a:p>
                  </a:txBody>
                  <a:tcPr/>
                </a:tc>
                <a:tc>
                  <a:txBody>
                    <a:bodyPr/>
                    <a:lstStyle/>
                    <a:p>
                      <a:endParaRPr lang="en-US" sz="2000"/>
                    </a:p>
                  </a:txBody>
                  <a:tcPr/>
                </a:tc>
                <a:tc>
                  <a:txBody>
                    <a:bodyPr/>
                    <a:lstStyle/>
                    <a:p>
                      <a:endParaRPr lang="en-US" sz="2000"/>
                    </a:p>
                  </a:txBody>
                  <a:tcPr/>
                </a:tc>
                <a:extLst>
                  <a:ext uri="{0D108BD9-81ED-4DB2-BD59-A6C34878D82A}">
                    <a16:rowId xmlns:a16="http://schemas.microsoft.com/office/drawing/2014/main" val="3136316372"/>
                  </a:ext>
                </a:extLst>
              </a:tr>
              <a:tr h="370840">
                <a:tc>
                  <a:txBody>
                    <a:bodyPr/>
                    <a:lstStyle/>
                    <a:p>
                      <a:r>
                        <a:rPr lang="en-US" sz="2000" dirty="0"/>
                        <a:t>G. Workflow and reproducibility</a:t>
                      </a:r>
                    </a:p>
                  </a:txBody>
                  <a:tcPr/>
                </a:tc>
                <a:tc>
                  <a:txBody>
                    <a:bodyPr/>
                    <a:lstStyle/>
                    <a:p>
                      <a:endParaRPr lang="en-US" sz="2000"/>
                    </a:p>
                  </a:txBody>
                  <a:tcPr/>
                </a:tc>
                <a:tc>
                  <a:txBody>
                    <a:bodyPr/>
                    <a:lstStyle/>
                    <a:p>
                      <a:endParaRPr lang="en-US" sz="2000"/>
                    </a:p>
                  </a:txBody>
                  <a:tcPr/>
                </a:tc>
                <a:extLst>
                  <a:ext uri="{0D108BD9-81ED-4DB2-BD59-A6C34878D82A}">
                    <a16:rowId xmlns:a16="http://schemas.microsoft.com/office/drawing/2014/main" val="2466929568"/>
                  </a:ext>
                </a:extLst>
              </a:tr>
              <a:tr h="370840">
                <a:tc>
                  <a:txBody>
                    <a:bodyPr/>
                    <a:lstStyle/>
                    <a:p>
                      <a:r>
                        <a:rPr lang="en-US" sz="2000" dirty="0"/>
                        <a:t>H. Communication and teamwork</a:t>
                      </a:r>
                    </a:p>
                  </a:txBody>
                  <a:tcPr/>
                </a:tc>
                <a:tc>
                  <a:txBody>
                    <a:bodyPr/>
                    <a:lstStyle/>
                    <a:p>
                      <a:endParaRPr lang="en-US" sz="2000"/>
                    </a:p>
                  </a:txBody>
                  <a:tcPr/>
                </a:tc>
                <a:tc>
                  <a:txBody>
                    <a:bodyPr/>
                    <a:lstStyle/>
                    <a:p>
                      <a:endParaRPr lang="en-US" sz="2000"/>
                    </a:p>
                  </a:txBody>
                  <a:tcPr/>
                </a:tc>
                <a:extLst>
                  <a:ext uri="{0D108BD9-81ED-4DB2-BD59-A6C34878D82A}">
                    <a16:rowId xmlns:a16="http://schemas.microsoft.com/office/drawing/2014/main" val="2853743210"/>
                  </a:ext>
                </a:extLst>
              </a:tr>
              <a:tr h="370840">
                <a:tc>
                  <a:txBody>
                    <a:bodyPr/>
                    <a:lstStyle/>
                    <a:p>
                      <a:r>
                        <a:rPr lang="en-US" sz="2000" dirty="0"/>
                        <a:t>I.  Domain-specific considerations </a:t>
                      </a:r>
                    </a:p>
                  </a:txBody>
                  <a:tcPr/>
                </a:tc>
                <a:tc>
                  <a:txBody>
                    <a:bodyPr/>
                    <a:lstStyle/>
                    <a:p>
                      <a:endParaRPr lang="en-US" sz="2000"/>
                    </a:p>
                  </a:txBody>
                  <a:tcPr/>
                </a:tc>
                <a:tc>
                  <a:txBody>
                    <a:bodyPr/>
                    <a:lstStyle/>
                    <a:p>
                      <a:endParaRPr lang="en-US" sz="2000" dirty="0"/>
                    </a:p>
                  </a:txBody>
                  <a:tcPr/>
                </a:tc>
                <a:extLst>
                  <a:ext uri="{0D108BD9-81ED-4DB2-BD59-A6C34878D82A}">
                    <a16:rowId xmlns:a16="http://schemas.microsoft.com/office/drawing/2014/main" val="3912057943"/>
                  </a:ext>
                </a:extLst>
              </a:tr>
              <a:tr h="370840">
                <a:tc>
                  <a:txBody>
                    <a:bodyPr/>
                    <a:lstStyle/>
                    <a:p>
                      <a:r>
                        <a:rPr lang="en-US" sz="2000" dirty="0"/>
                        <a:t>J. Ethical problem solving </a:t>
                      </a:r>
                    </a:p>
                  </a:txBody>
                  <a:tcPr/>
                </a:tc>
                <a:tc>
                  <a:txBody>
                    <a:bodyPr/>
                    <a:lstStyle/>
                    <a:p>
                      <a:endParaRPr lang="en-US" sz="2000"/>
                    </a:p>
                  </a:txBody>
                  <a:tcPr/>
                </a:tc>
                <a:tc>
                  <a:txBody>
                    <a:bodyPr/>
                    <a:lstStyle/>
                    <a:p>
                      <a:endParaRPr lang="en-US" sz="2000" dirty="0"/>
                    </a:p>
                  </a:txBody>
                  <a:tcPr/>
                </a:tc>
                <a:extLst>
                  <a:ext uri="{0D108BD9-81ED-4DB2-BD59-A6C34878D82A}">
                    <a16:rowId xmlns:a16="http://schemas.microsoft.com/office/drawing/2014/main" val="2435278746"/>
                  </a:ext>
                </a:extLst>
              </a:tr>
            </a:tbl>
          </a:graphicData>
        </a:graphic>
      </p:graphicFrame>
    </p:spTree>
    <p:extLst>
      <p:ext uri="{BB962C8B-B14F-4D97-AF65-F5344CB8AC3E}">
        <p14:creationId xmlns:p14="http://schemas.microsoft.com/office/powerpoint/2010/main" val="24361385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jtca xmlns="0bbea745-dd87-4d8f-af52-8a14390709bb"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18AA6CA7D000842A944B936E87AEFB6" ma:contentTypeVersion="5" ma:contentTypeDescription="Create a new document." ma:contentTypeScope="" ma:versionID="9df366141bdff86c74584631de8bc228">
  <xsd:schema xmlns:xsd="http://www.w3.org/2001/XMLSchema" xmlns:xs="http://www.w3.org/2001/XMLSchema" xmlns:p="http://schemas.microsoft.com/office/2006/metadata/properties" xmlns:ns1="http://schemas.microsoft.com/sharepoint/v3" xmlns:ns2="42d4191b-ef87-40f8-a2ec-45b7baf1e568" xmlns:ns3="0bbea745-dd87-4d8f-af52-8a14390709bb" targetNamespace="http://schemas.microsoft.com/office/2006/metadata/properties" ma:root="true" ma:fieldsID="2db439bf47fa8f2c6c95b9fde0ad42f2" ns1:_="" ns2:_="" ns3:_="">
    <xsd:import namespace="http://schemas.microsoft.com/sharepoint/v3"/>
    <xsd:import namespace="42d4191b-ef87-40f8-a2ec-45b7baf1e568"/>
    <xsd:import namespace="0bbea745-dd87-4d8f-af52-8a14390709bb"/>
    <xsd:element name="properties">
      <xsd:complexType>
        <xsd:sequence>
          <xsd:element name="documentManagement">
            <xsd:complexType>
              <xsd:all>
                <xsd:element ref="ns1:PublishingStartDate" minOccurs="0"/>
                <xsd:element ref="ns1:PublishingExpirationDate" minOccurs="0"/>
                <xsd:element ref="ns2:SharedWithUsers" minOccurs="0"/>
                <xsd:element ref="ns3:MediaServiceMetadata" minOccurs="0"/>
                <xsd:element ref="ns3:MediaServiceFastMetadata" minOccurs="0"/>
                <xsd:element ref="ns3:jtc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d4191b-ef87-40f8-a2ec-45b7baf1e568"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bbea745-dd87-4d8f-af52-8a14390709bb"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jtca" ma:index="13" nillable="true" ma:displayName="Text" ma:internalName="jtca">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753AC7-0472-476E-9F93-82419FB5703C}">
  <ds:schemaRefs>
    <ds:schemaRef ds:uri="http://schemas.microsoft.com/office/2006/metadata/properties"/>
    <ds:schemaRef ds:uri="http://schemas.microsoft.com/office/infopath/2007/PartnerControls"/>
    <ds:schemaRef ds:uri="http://schemas.microsoft.com/sharepoint/v3"/>
    <ds:schemaRef ds:uri="0bbea745-dd87-4d8f-af52-8a14390709bb"/>
  </ds:schemaRefs>
</ds:datastoreItem>
</file>

<file path=customXml/itemProps2.xml><?xml version="1.0" encoding="utf-8"?>
<ds:datastoreItem xmlns:ds="http://schemas.openxmlformats.org/officeDocument/2006/customXml" ds:itemID="{E3D73538-FF87-4FF1-9850-4E74DADC4A38}">
  <ds:schemaRefs>
    <ds:schemaRef ds:uri="http://schemas.microsoft.com/sharepoint/v3/contenttype/forms"/>
  </ds:schemaRefs>
</ds:datastoreItem>
</file>

<file path=customXml/itemProps3.xml><?xml version="1.0" encoding="utf-8"?>
<ds:datastoreItem xmlns:ds="http://schemas.openxmlformats.org/officeDocument/2006/customXml" ds:itemID="{99B96C0B-7ACF-43C5-8907-54BD7DE022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d4191b-ef87-40f8-a2ec-45b7baf1e568"/>
    <ds:schemaRef ds:uri="0bbea745-dd87-4d8f-af52-8a14390709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7420</TotalTime>
  <Words>2469</Words>
  <Application>Microsoft Macintosh PowerPoint</Application>
  <PresentationFormat>On-screen Show (4:3)</PresentationFormat>
  <Paragraphs>209</Paragraphs>
  <Slides>18</Slides>
  <Notes>1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6" baseType="lpstr">
      <vt:lpstr>Arial</vt:lpstr>
      <vt:lpstr>Calibri</vt:lpstr>
      <vt:lpstr>Lato</vt:lpstr>
      <vt:lpstr>Roboto</vt:lpstr>
      <vt:lpstr>Roboto Slab</vt:lpstr>
      <vt:lpstr>Wingdings</vt:lpstr>
      <vt:lpstr>Default Theme</vt:lpstr>
      <vt:lpstr>think-cell Slide</vt:lpstr>
      <vt:lpstr>Where are we in the data science landscape?</vt:lpstr>
      <vt:lpstr>PowerPoint Presentation</vt:lpstr>
      <vt:lpstr>Drew Conway2010</vt:lpstr>
      <vt:lpstr>Steven Geringer 2014</vt:lpstr>
      <vt:lpstr>PowerPoint Presentation</vt:lpstr>
      <vt:lpstr>Key concepts involved in developing data acumen include the following: </vt:lpstr>
      <vt:lpstr>Take a deep breath ...</vt:lpstr>
      <vt:lpstr>PowerPoint Presentation</vt:lpstr>
      <vt:lpstr>Mapping your data science landscape</vt:lpstr>
      <vt:lpstr>Mapping your data science landscape</vt:lpstr>
      <vt:lpstr>Mapping your data science landscape</vt:lpstr>
      <vt:lpstr>Mapping your data science landscape: why are we doing this?</vt:lpstr>
      <vt:lpstr>PowerPoint Presentation</vt:lpstr>
      <vt:lpstr>Mapping your data science landscape: your plots</vt:lpstr>
      <vt:lpstr>Alternative Activity Instructions:  Using Handout</vt:lpstr>
      <vt:lpstr>Mapping your data science landscape</vt:lpstr>
      <vt:lpstr>Mapping your data science landscape</vt:lpstr>
      <vt:lpstr>Mapping your data science landscape</vt:lpstr>
    </vt:vector>
  </TitlesOfParts>
  <Company>Battell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Title of Presentation</dc:title>
  <dc:creator>www.wizkit.com</dc:creator>
  <cp:lastModifiedBy>Megan Jones</cp:lastModifiedBy>
  <cp:revision>165</cp:revision>
  <dcterms:created xsi:type="dcterms:W3CDTF">2014-03-04T19:43:17Z</dcterms:created>
  <dcterms:modified xsi:type="dcterms:W3CDTF">2019-12-11T00:3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5</vt:i4>
  </property>
  <property fmtid="{D5CDD505-2E9C-101B-9397-08002B2CF9AE}" pid="4" name="ContentTypeId">
    <vt:lpwstr>0x010100618AA6CA7D000842A944B936E87AEFB6</vt:lpwstr>
  </property>
</Properties>
</file>